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2" r:id="rId5"/>
  </p:sldMasterIdLst>
  <p:notesMasterIdLst>
    <p:notesMasterId r:id="rId8"/>
  </p:notesMasterIdLst>
  <p:handoutMasterIdLst>
    <p:handoutMasterId r:id="rId9"/>
  </p:handoutMasterIdLst>
  <p:sldIdLst>
    <p:sldId id="406" r:id="rId6"/>
    <p:sldId id="415" r:id="rId7"/>
  </p:sldIdLst>
  <p:sldSz cx="12198350" cy="6858000"/>
  <p:notesSz cx="7315200" cy="9601200"/>
  <p:custDataLst>
    <p:tags r:id="rId10"/>
  </p:custDataLst>
  <p:defaultTextStyle>
    <a:defPPr>
      <a:defRPr lang="de-DE"/>
    </a:defPPr>
    <a:lvl1pPr marL="0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71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06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42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78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14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49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8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ercedes-Benz Mastervorlage" id="{DC7E59F3-1751-4F5A-94D2-FE5E27FE97B1}">
          <p14:sldIdLst/>
        </p14:section>
        <p14:section name="Bibliotheken" id="{2A5F3592-C811-4774-843D-2E0D4612952B}">
          <p14:sldIdLst>
            <p14:sldId id="406"/>
            <p14:sldId id="41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588">
          <p15:clr>
            <a:srgbClr val="A4A3A4"/>
          </p15:clr>
        </p15:guide>
        <p15:guide id="2" orient="horz" pos="210">
          <p15:clr>
            <a:srgbClr val="A4A3A4"/>
          </p15:clr>
        </p15:guide>
        <p15:guide id="3" orient="horz" pos="4071">
          <p15:clr>
            <a:srgbClr val="A4A3A4"/>
          </p15:clr>
        </p15:guide>
        <p15:guide id="4" orient="horz" pos="468">
          <p15:clr>
            <a:srgbClr val="A4A3A4"/>
          </p15:clr>
        </p15:guide>
        <p15:guide id="5" orient="horz" pos="705">
          <p15:clr>
            <a:srgbClr val="A4A3A4"/>
          </p15:clr>
        </p15:guide>
        <p15:guide id="6" pos="7434">
          <p15:clr>
            <a:srgbClr val="A4A3A4"/>
          </p15:clr>
        </p15:guide>
        <p15:guide id="7" pos="367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744" userDrawn="1">
          <p15:clr>
            <a:srgbClr val="A4A3A4"/>
          </p15:clr>
        </p15:guide>
        <p15:guide id="2" orient="horz" pos="5304" userDrawn="1">
          <p15:clr>
            <a:srgbClr val="A4A3A4"/>
          </p15:clr>
        </p15:guide>
        <p15:guide id="3" pos="4288" userDrawn="1">
          <p15:clr>
            <a:srgbClr val="A4A3A4"/>
          </p15:clr>
        </p15:guide>
        <p15:guide id="4" pos="32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B6BBC1"/>
    <a:srgbClr val="9F00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303" autoAdjust="0"/>
    <p:restoredTop sz="95053" autoAdjust="0"/>
  </p:normalViewPr>
  <p:slideViewPr>
    <p:cSldViewPr snapToGrid="0" showGuides="1">
      <p:cViewPr varScale="1">
        <p:scale>
          <a:sx n="111" d="100"/>
          <a:sy n="111" d="100"/>
        </p:scale>
        <p:origin x="972" y="108"/>
      </p:cViewPr>
      <p:guideLst>
        <p:guide orient="horz" pos="588"/>
        <p:guide orient="horz" pos="210"/>
        <p:guide orient="horz" pos="4071"/>
        <p:guide orient="horz" pos="468"/>
        <p:guide orient="horz" pos="705"/>
        <p:guide pos="7434"/>
        <p:guide pos="3678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276"/>
    </p:cViewPr>
  </p:sorterViewPr>
  <p:notesViewPr>
    <p:cSldViewPr snapToGrid="0" showGuides="1">
      <p:cViewPr>
        <p:scale>
          <a:sx n="80" d="100"/>
          <a:sy n="80" d="100"/>
        </p:scale>
        <p:origin x="-4026" y="-720"/>
      </p:cViewPr>
      <p:guideLst>
        <p:guide orient="horz" pos="744"/>
        <p:guide orient="horz" pos="5304"/>
        <p:guide pos="4288"/>
        <p:guide pos="32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969600" y="9279900"/>
            <a:ext cx="345600" cy="3213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pPr lvl="0" algn="l"/>
            <a:fld id="{E27968A0-2773-4E6D-A3EA-5EE59DBB9DEC}" type="slidenum">
              <a:rPr lang="en-US" sz="900" smtClean="0"/>
              <a:pPr lvl="0" algn="l"/>
              <a:t>‹Nr.›</a:t>
            </a:fld>
            <a:endParaRPr lang="en-US" sz="900" dirty="0"/>
          </a:p>
        </p:txBody>
      </p:sp>
      <p:pic>
        <p:nvPicPr>
          <p:cNvPr id="10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401" y="9347484"/>
            <a:ext cx="1267200" cy="143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735431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55613" y="720725"/>
            <a:ext cx="6403975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5"/>
          </p:nvPr>
        </p:nvSpPr>
        <p:spPr>
          <a:xfrm>
            <a:off x="6969600" y="9279900"/>
            <a:ext cx="345600" cy="3213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pPr lvl="0" algn="l"/>
            <a:fld id="{E27968A0-2773-4E6D-A3EA-5EE59DBB9DEC}" type="slidenum">
              <a:rPr lang="en-US" sz="900" smtClean="0"/>
              <a:pPr lvl="0" algn="l"/>
              <a:t>‹Nr.›</a:t>
            </a:fld>
            <a:endParaRPr lang="en-US" sz="900" dirty="0"/>
          </a:p>
        </p:txBody>
      </p:sp>
      <p:sp>
        <p:nvSpPr>
          <p:cNvPr id="2" name="Notizenplatzhalter 1"/>
          <p:cNvSpPr>
            <a:spLocks noGrp="1"/>
          </p:cNvSpPr>
          <p:nvPr>
            <p:ph type="body" sz="quarter" idx="3"/>
          </p:nvPr>
        </p:nvSpPr>
        <p:spPr>
          <a:xfrm>
            <a:off x="404708" y="4560571"/>
            <a:ext cx="6505787" cy="432054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 smtClean="0"/>
              <a:t>Text in </a:t>
            </a:r>
            <a:r>
              <a:rPr lang="de-DE" noProof="0" dirty="0" err="1" smtClean="0"/>
              <a:t>CorpoS</a:t>
            </a:r>
            <a:r>
              <a:rPr lang="en-US" dirty="0" smtClean="0"/>
              <a:t>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pic>
        <p:nvPicPr>
          <p:cNvPr id="7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401" y="9347484"/>
            <a:ext cx="1267200" cy="143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585940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271" rtl="0" eaLnBrk="1" latinLnBrk="0" hangingPunct="1">
      <a:lnSpc>
        <a:spcPct val="108000"/>
      </a:lnSpc>
      <a:spcAft>
        <a:spcPts val="1008"/>
      </a:spcAft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234000" indent="-234000" algn="l" defTabSz="914271" rtl="0" eaLnBrk="1" latinLnBrk="0" hangingPunct="1">
      <a:lnSpc>
        <a:spcPct val="108000"/>
      </a:lnSpc>
      <a:spcAft>
        <a:spcPts val="1008"/>
      </a:spcAft>
      <a:buFont typeface="Arial" panose="020B0604020202020204" pitchFamily="34" charset="0"/>
      <a:buChar char="•"/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6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err="1" smtClean="0">
              <a:solidFill>
                <a:schemeClr val="bg1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0"/>
            <a:ext cx="12198097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7" y="3848402"/>
            <a:ext cx="8928000" cy="1044000"/>
          </a:xfrm>
        </p:spPr>
        <p:txBody>
          <a:bodyPr/>
          <a:lstStyle>
            <a:lvl1pPr>
              <a:lnSpc>
                <a:spcPts val="3999"/>
              </a:lnSpc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sentationstitel 30 pt über eine Zeile.</a:t>
            </a:r>
            <a:br>
              <a:rPr lang="de-DE" dirty="0" smtClean="0"/>
            </a:br>
            <a:r>
              <a:rPr lang="de-DE" dirty="0" smtClean="0"/>
              <a:t>Zweite Zeile möglich.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dirty="0" smtClean="0"/>
              <a:t>Zusatztext zur Präsentation 15 pt </a:t>
            </a:r>
            <a:br>
              <a:rPr lang="de-DE" dirty="0" smtClean="0"/>
            </a:br>
            <a:r>
              <a:rPr lang="de-DE" dirty="0" smtClean="0"/>
              <a:t>Referent, Abteilung, Ort, Datum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835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226220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004275" y="3810874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9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395287" y="4208401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1" name="Bildplatzhalter 8"/>
          <p:cNvSpPr>
            <a:spLocks noGrp="1"/>
          </p:cNvSpPr>
          <p:nvPr userDrawn="1">
            <p:ph type="pic" sz="quarter" idx="17" hasCustomPrompt="1"/>
          </p:nvPr>
        </p:nvSpPr>
        <p:spPr bwMode="gray">
          <a:xfrm>
            <a:off x="6134613" y="4208401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Bildplatzhalter 8"/>
          <p:cNvSpPr>
            <a:spLocks noGrp="1"/>
          </p:cNvSpPr>
          <p:nvPr userDrawn="1">
            <p:ph type="pic" sz="quarter" idx="18" hasCustomPrompt="1"/>
          </p:nvPr>
        </p:nvSpPr>
        <p:spPr bwMode="gray">
          <a:xfrm>
            <a:off x="3264950" y="4208401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0" name="Bildplatzhalter 8"/>
          <p:cNvSpPr>
            <a:spLocks noGrp="1"/>
          </p:cNvSpPr>
          <p:nvPr userDrawn="1">
            <p:ph type="pic" sz="quarter" idx="29" hasCustomPrompt="1"/>
          </p:nvPr>
        </p:nvSpPr>
        <p:spPr bwMode="gray">
          <a:xfrm>
            <a:off x="9004275" y="4208401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95287" y="1906475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6134613" y="1906475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2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3264950" y="1906475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9" name="Bildplatzhalter 8"/>
          <p:cNvSpPr>
            <a:spLocks noGrp="1"/>
          </p:cNvSpPr>
          <p:nvPr userDrawn="1">
            <p:ph type="pic" sz="quarter" idx="28" hasCustomPrompt="1"/>
          </p:nvPr>
        </p:nvSpPr>
        <p:spPr bwMode="gray">
          <a:xfrm>
            <a:off x="9004275" y="1906475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395288" y="151200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 </a:t>
            </a:r>
            <a:endParaRPr lang="de-DE" dirty="0" smtClean="0"/>
          </a:p>
        </p:txBody>
      </p:sp>
      <p:sp>
        <p:nvSpPr>
          <p:cNvPr id="16" name="Textplatzhalter 3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3264950" y="1512000"/>
            <a:ext cx="2797200" cy="324000"/>
          </a:xfrm>
        </p:spPr>
        <p:txBody>
          <a:bodyPr/>
          <a:lstStyle>
            <a:lvl1pPr marL="0" marR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marL="0" marR="0" lvl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Überschrift </a:t>
            </a:r>
            <a:r>
              <a:rPr lang="en-US" dirty="0" smtClean="0"/>
              <a:t>CorpoS 20 pt. </a:t>
            </a:r>
            <a:endParaRPr lang="de-DE" dirty="0" smtClean="0"/>
          </a:p>
        </p:txBody>
      </p:sp>
      <p:sp>
        <p:nvSpPr>
          <p:cNvPr id="17" name="Textplatzhalter 3"/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6134612" y="1512000"/>
            <a:ext cx="2797200" cy="324000"/>
          </a:xfrm>
        </p:spPr>
        <p:txBody>
          <a:bodyPr/>
          <a:lstStyle>
            <a:lvl1pPr marL="0" marR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marL="0" marR="0" lvl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Überschrift </a:t>
            </a:r>
            <a:r>
              <a:rPr lang="en-US" dirty="0" smtClean="0"/>
              <a:t>CorpoS 20 pt. </a:t>
            </a:r>
            <a:endParaRPr lang="de-DE" dirty="0" smtClean="0"/>
          </a:p>
        </p:txBody>
      </p:sp>
      <p:sp>
        <p:nvSpPr>
          <p:cNvPr id="41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004275" y="151200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395288" y="3810874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18" name="Textplatzhalter 3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3264950" y="3810874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19" name="Textplatzhalter 3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6134612" y="3810874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066267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9175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9175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9175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9175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7176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dirty="0" smtClean="0"/>
              <a:t>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7176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7176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7176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6000" y="15113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6000" y="52526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6000" y="40055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6000" y="27584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0001474" y="15113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01474" y="52526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001474" y="40055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0001474" y="27584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8671" y="15113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8671" y="40055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8671" y="27584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8671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4000" y="15113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4000" y="40055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4000" y="27584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4000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6005" y="20981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6005" y="33452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9176" y="20981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9176" y="33452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9176" y="45923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9176" y="58394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6005" y="58394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6005" y="45923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3003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4337" y="2757600"/>
            <a:ext cx="6148800" cy="2421734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23" name="Textplatzhalter 3"/>
          <p:cNvSpPr>
            <a:spLocks noGrp="1" noChangeAspect="1"/>
          </p:cNvSpPr>
          <p:nvPr>
            <p:ph type="body" sz="quarter" idx="67" hasCustomPrompt="1"/>
          </p:nvPr>
        </p:nvSpPr>
        <p:spPr bwMode="white">
          <a:xfrm rot="9427937">
            <a:off x="2425691" y="5284427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1" name="Textplatzhalter 3"/>
          <p:cNvSpPr>
            <a:spLocks noGrp="1" noChangeAspect="1"/>
          </p:cNvSpPr>
          <p:nvPr>
            <p:ph type="body" sz="quarter" idx="56" hasCustomPrompt="1"/>
          </p:nvPr>
        </p:nvSpPr>
        <p:spPr bwMode="white">
          <a:xfrm rot="17090839">
            <a:off x="7964704" y="280890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2" name="Textplatzhalter 3"/>
          <p:cNvSpPr>
            <a:spLocks noGrp="1" noChangeAspect="1"/>
          </p:cNvSpPr>
          <p:nvPr>
            <p:ph type="body" sz="quarter" idx="57" hasCustomPrompt="1"/>
          </p:nvPr>
        </p:nvSpPr>
        <p:spPr bwMode="white">
          <a:xfrm rot="18468895">
            <a:off x="6090519" y="2581063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3" name="Textplatzhalter 3"/>
          <p:cNvSpPr>
            <a:spLocks noGrp="1" noChangeAspect="1"/>
          </p:cNvSpPr>
          <p:nvPr>
            <p:ph type="body" sz="quarter" idx="58" hasCustomPrompt="1"/>
          </p:nvPr>
        </p:nvSpPr>
        <p:spPr bwMode="white">
          <a:xfrm rot="11041244">
            <a:off x="2483054" y="3144224"/>
            <a:ext cx="2204126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4" name="Textplatzhalter 3"/>
          <p:cNvSpPr>
            <a:spLocks noGrp="1" noChangeAspect="1"/>
          </p:cNvSpPr>
          <p:nvPr>
            <p:ph type="body" sz="quarter" idx="59" hasCustomPrompt="1"/>
          </p:nvPr>
        </p:nvSpPr>
        <p:spPr bwMode="white">
          <a:xfrm rot="10320000">
            <a:off x="2608500" y="4603312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5" name="Textplatzhalter 3"/>
          <p:cNvSpPr>
            <a:spLocks noGrp="1" noChangeAspect="1"/>
          </p:cNvSpPr>
          <p:nvPr>
            <p:ph type="body" sz="quarter" idx="60" hasCustomPrompt="1"/>
          </p:nvPr>
        </p:nvSpPr>
        <p:spPr bwMode="white">
          <a:xfrm rot="3540000">
            <a:off x="5861589" y="4897309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6" name="Textplatzhalter 3"/>
          <p:cNvSpPr>
            <a:spLocks noGrp="1" noChangeAspect="1"/>
          </p:cNvSpPr>
          <p:nvPr>
            <p:ph type="body" sz="quarter" idx="61" hasCustomPrompt="1"/>
          </p:nvPr>
        </p:nvSpPr>
        <p:spPr bwMode="white">
          <a:xfrm rot="12197832">
            <a:off x="2201247" y="2579449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7" name="Textplatzhalter 3"/>
          <p:cNvSpPr>
            <a:spLocks noGrp="1" noChangeAspect="1"/>
          </p:cNvSpPr>
          <p:nvPr>
            <p:ph type="body" sz="quarter" idx="62" hasCustomPrompt="1"/>
          </p:nvPr>
        </p:nvSpPr>
        <p:spPr bwMode="white">
          <a:xfrm rot="13889278">
            <a:off x="4708703" y="252068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8" name="Textplatzhalter 3"/>
          <p:cNvSpPr>
            <a:spLocks noGrp="1" noChangeAspect="1"/>
          </p:cNvSpPr>
          <p:nvPr>
            <p:ph type="body" sz="quarter" idx="63" hasCustomPrompt="1"/>
          </p:nvPr>
        </p:nvSpPr>
        <p:spPr bwMode="white">
          <a:xfrm rot="17090839" flipH="1" flipV="1">
            <a:off x="4827733" y="538222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9" name="Textplatzhalter 3"/>
          <p:cNvSpPr>
            <a:spLocks noGrp="1" noChangeAspect="1"/>
          </p:cNvSpPr>
          <p:nvPr>
            <p:ph type="body" sz="quarter" idx="64" hasCustomPrompt="1"/>
          </p:nvPr>
        </p:nvSpPr>
        <p:spPr bwMode="white">
          <a:xfrm rot="12243241" flipH="1" flipV="1">
            <a:off x="8587331" y="4580694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20" name="Textplatzhalter 3"/>
          <p:cNvSpPr>
            <a:spLocks noGrp="1" noChangeAspect="1"/>
          </p:cNvSpPr>
          <p:nvPr>
            <p:ph type="body" sz="quarter" idx="65" hasCustomPrompt="1"/>
          </p:nvPr>
        </p:nvSpPr>
        <p:spPr bwMode="white">
          <a:xfrm rot="10046435" flipH="1" flipV="1">
            <a:off x="8610544" y="3345727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22" name="Textplatzhalter 3"/>
          <p:cNvSpPr>
            <a:spLocks noGrp="1" noChangeAspect="1"/>
          </p:cNvSpPr>
          <p:nvPr>
            <p:ph type="body" sz="quarter" idx="66" hasCustomPrompt="1"/>
          </p:nvPr>
        </p:nvSpPr>
        <p:spPr bwMode="white">
          <a:xfrm rot="2851924">
            <a:off x="6698739" y="4854467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6000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3026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</a:t>
            </a:r>
            <a:r>
              <a:rPr lang="de-DE" noProof="0" dirty="0" smtClean="0"/>
              <a:t>CorpoS</a:t>
            </a:r>
            <a:r>
              <a:rPr lang="en-US" dirty="0" smtClean="0"/>
              <a:t> 15 pt. </a:t>
            </a:r>
            <a:r>
              <a:rPr lang="de-DE" dirty="0" smtClean="0"/>
              <a:t>// kleineren Text: Listenebene erhöhen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4851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</a:t>
            </a:r>
            <a:r>
              <a:rPr lang="de-DE" noProof="0" dirty="0" smtClean="0"/>
              <a:t>CorpoS</a:t>
            </a:r>
            <a:r>
              <a:rPr lang="en-US" dirty="0" smtClean="0"/>
              <a:t> 15 pt. </a:t>
            </a:r>
            <a:r>
              <a:rPr lang="de-DE" dirty="0" smtClean="0"/>
              <a:t>// kleineren Text: Listenebene erhöhen</a:t>
            </a:r>
          </a:p>
        </p:txBody>
      </p:sp>
      <p:sp>
        <p:nvSpPr>
          <p:cNvPr id="93" name="Textplatzhalter 3"/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8046674" y="1512000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3026" y="1512000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</a:t>
            </a:r>
            <a:r>
              <a:rPr lang="de-DE" noProof="0" dirty="0" smtClean="0"/>
              <a:t>CorpoS</a:t>
            </a:r>
            <a:r>
              <a:rPr lang="en-US" dirty="0" smtClean="0"/>
              <a:t> 15 pt. </a:t>
            </a:r>
            <a:r>
              <a:rPr lang="de-DE" dirty="0" smtClean="0"/>
              <a:t>// kleineren Text: Listenebene erhöhen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4851" y="1512000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</a:t>
            </a:r>
            <a:r>
              <a:rPr lang="de-DE" noProof="0" dirty="0" smtClean="0"/>
              <a:t>CorpoS</a:t>
            </a:r>
            <a:r>
              <a:rPr lang="en-US" dirty="0" smtClean="0"/>
              <a:t> 15 pt. </a:t>
            </a:r>
            <a:r>
              <a:rPr lang="de-DE" dirty="0" smtClean="0"/>
              <a:t>// kleineren Text: Listenebene erhöhen</a:t>
            </a:r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6674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6000" y="1512000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6000" y="2758867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6000" y="4005735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5474" y="4005735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5474" y="2758867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</p:spTree>
    <p:extLst>
      <p:ext uri="{BB962C8B-B14F-4D97-AF65-F5344CB8AC3E}">
        <p14:creationId xmlns:p14="http://schemas.microsoft.com/office/powerpoint/2010/main" val="447604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1" grpId="0" uiExpand="1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uiExpand="1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uiExpand="1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7" grpId="0" uiExpand="1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uiExpand="1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uiExpand="1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uiExpand="1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uiExpand="1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 //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4222800" y="1836000"/>
            <a:ext cx="3754800" cy="10800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/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4pPr>
            <a:lvl5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4222800" y="1512000"/>
            <a:ext cx="3754800" cy="324000"/>
          </a:xfrm>
          <a:solidFill>
            <a:schemeClr val="tx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4222800" y="5346001"/>
            <a:ext cx="3754800" cy="10802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/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4pPr>
            <a:lvl5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4222800" y="5022000"/>
            <a:ext cx="3754800" cy="324000"/>
          </a:xfrm>
          <a:solidFill>
            <a:schemeClr val="tx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6000" y="1512000"/>
            <a:ext cx="3754800" cy="324000"/>
          </a:xfrm>
          <a:solidFill>
            <a:schemeClr val="tx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396000" y="4320000"/>
            <a:ext cx="3754800" cy="21062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/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4pPr>
            <a:lvl5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396000" y="3996000"/>
            <a:ext cx="3754800" cy="324000"/>
          </a:xfrm>
          <a:solidFill>
            <a:schemeClr val="tx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2988100"/>
            <a:ext cx="3754800" cy="19620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54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8046676" y="4950100"/>
            <a:ext cx="3754800" cy="14761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/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4pPr>
            <a:lvl5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046676" y="4626100"/>
            <a:ext cx="3754800" cy="324000"/>
          </a:xfrm>
          <a:solidFill>
            <a:schemeClr val="tx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8046676" y="1512000"/>
            <a:ext cx="3754800" cy="324000"/>
          </a:xfrm>
          <a:solidFill>
            <a:schemeClr val="tx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9" hasCustomPrompt="1"/>
          </p:nvPr>
        </p:nvSpPr>
        <p:spPr bwMode="gray">
          <a:xfrm>
            <a:off x="8046676" y="3384001"/>
            <a:ext cx="3754800" cy="11700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/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4pPr>
            <a:lvl5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80" hasCustomPrompt="1"/>
          </p:nvPr>
        </p:nvSpPr>
        <p:spPr bwMode="gray">
          <a:xfrm>
            <a:off x="8046676" y="3060000"/>
            <a:ext cx="3754800" cy="324000"/>
          </a:xfrm>
          <a:solidFill>
            <a:schemeClr val="tx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6000" y="1836001"/>
            <a:ext cx="3754800" cy="20880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/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4pPr>
            <a:lvl5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8046676" y="1836000"/>
            <a:ext cx="3754800" cy="11521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/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4pPr>
            <a:lvl5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175739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6000" y="151130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</a:t>
            </a:r>
            <a:endParaRPr lang="de-DE" dirty="0" smtClean="0"/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6000" y="1979418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</a:t>
            </a:r>
            <a:endParaRPr lang="de-DE" dirty="0" smtClean="0"/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6000" y="291565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</a:t>
            </a:r>
            <a:endParaRPr lang="de-DE" dirty="0" smtClean="0"/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6000" y="4320000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</a:t>
            </a:r>
            <a:endParaRPr lang="de-DE" dirty="0" smtClean="0"/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6000" y="2447534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</a:t>
            </a:r>
            <a:endParaRPr lang="de-DE" dirty="0" smtClean="0"/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6000" y="3851886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</a:t>
            </a:r>
            <a:endParaRPr lang="de-DE" dirty="0" smtClean="0"/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6000" y="3383769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</a:t>
            </a:r>
            <a:endParaRPr lang="de-DE" dirty="0" smtClean="0"/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1511300"/>
            <a:ext cx="7578675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8459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6676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1337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21338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6676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684933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594560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1" y="40442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5012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076" y="15113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076" y="40435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076" y="35005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076" y="60302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018498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35012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4849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4849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4849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4851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542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542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542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5426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00427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00427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900427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004275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580862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6086" y="1511767"/>
            <a:ext cx="11405389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6086" y="1511767"/>
            <a:ext cx="11405389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1059" y="1511767"/>
            <a:ext cx="9635443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6086" y="1511300"/>
            <a:ext cx="11405389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6465" y="1511300"/>
            <a:ext cx="772463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288" y="1511299"/>
            <a:ext cx="11406188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6086" y="2431828"/>
            <a:ext cx="11405389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dirty="0" smtClean="0"/>
              <a:t>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8466" y="1511768"/>
            <a:ext cx="184225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7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2308466" y="2502758"/>
            <a:ext cx="1842421" cy="921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2308466" y="3495677"/>
            <a:ext cx="1840379" cy="919068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9" name="Bildplatzhalter 8"/>
          <p:cNvSpPr>
            <a:spLocks noGrp="1"/>
          </p:cNvSpPr>
          <p:nvPr userDrawn="1">
            <p:ph type="pic" sz="quarter" idx="17" hasCustomPrompt="1"/>
          </p:nvPr>
        </p:nvSpPr>
        <p:spPr bwMode="gray">
          <a:xfrm>
            <a:off x="396884" y="4486748"/>
            <a:ext cx="2796863" cy="920062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0" name="Bildplatzhalter 8"/>
          <p:cNvSpPr>
            <a:spLocks noGrp="1"/>
          </p:cNvSpPr>
          <p:nvPr userDrawn="1">
            <p:ph type="pic" sz="quarter" idx="18" hasCustomPrompt="1"/>
          </p:nvPr>
        </p:nvSpPr>
        <p:spPr bwMode="gray">
          <a:xfrm>
            <a:off x="3265118" y="4486747"/>
            <a:ext cx="885768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1" name="Bildplatzhalter 8"/>
          <p:cNvSpPr>
            <a:spLocks noGrp="1"/>
          </p:cNvSpPr>
          <p:nvPr userDrawn="1">
            <p:ph type="pic" sz="quarter" idx="19" hasCustomPrompt="1"/>
          </p:nvPr>
        </p:nvSpPr>
        <p:spPr bwMode="gray">
          <a:xfrm>
            <a:off x="396884" y="3495677"/>
            <a:ext cx="884175" cy="91906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2" name="Bildplatzhalter 8"/>
          <p:cNvSpPr>
            <a:spLocks noGrp="1"/>
          </p:cNvSpPr>
          <p:nvPr userDrawn="1">
            <p:ph type="pic" sz="quarter" idx="20" hasCustomPrompt="1"/>
          </p:nvPr>
        </p:nvSpPr>
        <p:spPr bwMode="gray">
          <a:xfrm>
            <a:off x="1353059" y="3495677"/>
            <a:ext cx="882628" cy="91906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2402" y="3495678"/>
            <a:ext cx="1839600" cy="91906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6" name="Bildplatzhalter 8"/>
          <p:cNvSpPr>
            <a:spLocks noGrp="1"/>
          </p:cNvSpPr>
          <p:nvPr userDrawn="1">
            <p:ph type="pic" sz="quarter" idx="24" hasCustomPrompt="1"/>
          </p:nvPr>
        </p:nvSpPr>
        <p:spPr bwMode="gray">
          <a:xfrm>
            <a:off x="5178436" y="1511768"/>
            <a:ext cx="2796724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7" name="Bildplatzhalter 8"/>
          <p:cNvSpPr>
            <a:spLocks noGrp="1"/>
          </p:cNvSpPr>
          <p:nvPr userDrawn="1">
            <p:ph type="pic" sz="quarter" idx="25" hasCustomPrompt="1"/>
          </p:nvPr>
        </p:nvSpPr>
        <p:spPr bwMode="gray">
          <a:xfrm>
            <a:off x="6134151" y="2503829"/>
            <a:ext cx="1841010" cy="92052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8" name="Bildplatzhalter 8"/>
          <p:cNvSpPr>
            <a:spLocks noGrp="1"/>
          </p:cNvSpPr>
          <p:nvPr userDrawn="1">
            <p:ph type="pic" sz="quarter" idx="26" hasCustomPrompt="1"/>
          </p:nvPr>
        </p:nvSpPr>
        <p:spPr bwMode="gray">
          <a:xfrm>
            <a:off x="6134150" y="3495678"/>
            <a:ext cx="1841010" cy="91906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7091125" y="4486747"/>
            <a:ext cx="884035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0" name="Bildplatzhalter 8"/>
          <p:cNvSpPr>
            <a:spLocks noGrp="1"/>
          </p:cNvSpPr>
          <p:nvPr userDrawn="1">
            <p:ph type="pic" sz="quarter" idx="28" hasCustomPrompt="1"/>
          </p:nvPr>
        </p:nvSpPr>
        <p:spPr bwMode="gray">
          <a:xfrm>
            <a:off x="5178436" y="4486747"/>
            <a:ext cx="1840689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1" name="Bildplatzhalter 8"/>
          <p:cNvSpPr>
            <a:spLocks noGrp="1"/>
          </p:cNvSpPr>
          <p:nvPr userDrawn="1">
            <p:ph type="pic" sz="quarter" idx="29" hasCustomPrompt="1"/>
          </p:nvPr>
        </p:nvSpPr>
        <p:spPr bwMode="gray">
          <a:xfrm>
            <a:off x="4222403" y="4486747"/>
            <a:ext cx="884034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2" name="Bildplatzhalter 8"/>
          <p:cNvSpPr>
            <a:spLocks noGrp="1"/>
          </p:cNvSpPr>
          <p:nvPr userDrawn="1">
            <p:ph type="pic" sz="quarter" idx="30" hasCustomPrompt="1"/>
          </p:nvPr>
        </p:nvSpPr>
        <p:spPr bwMode="gray">
          <a:xfrm>
            <a:off x="4222403" y="1511767"/>
            <a:ext cx="884034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4" name="Bildplatzhalter 8"/>
          <p:cNvSpPr>
            <a:spLocks noGrp="1"/>
          </p:cNvSpPr>
          <p:nvPr userDrawn="1">
            <p:ph type="pic" sz="quarter" idx="32" hasCustomPrompt="1"/>
          </p:nvPr>
        </p:nvSpPr>
        <p:spPr bwMode="gray">
          <a:xfrm>
            <a:off x="5178436" y="2503829"/>
            <a:ext cx="883566" cy="920528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6676" y="1511768"/>
            <a:ext cx="2797825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10916502" y="1511768"/>
            <a:ext cx="884974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1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2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83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854328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</p:spPr>
        <p:txBody>
          <a:bodyPr numCol="2" spcCol="244765"/>
          <a:lstStyle>
            <a:lvl1pPr marL="431939" indent="-431939">
              <a:buFont typeface="+mj-lt"/>
              <a:buAutoNum type="arabicPeriod"/>
              <a:defRPr baseline="0"/>
            </a:lvl1pPr>
            <a:lvl2pPr marL="863878" indent="-431939">
              <a:buFont typeface="+mj-lt"/>
              <a:buAutoNum type="alphaLcPeriod"/>
              <a:defRPr/>
            </a:lvl2pPr>
            <a:lvl3pPr marL="863878" indent="-431939">
              <a:buFont typeface="+mj-lt"/>
              <a:buAutoNum type="alphaLcPeriod"/>
              <a:defRPr sz="2000"/>
            </a:lvl3pPr>
            <a:lvl4pPr marL="863878" indent="-431939">
              <a:buFont typeface="+mj-lt"/>
              <a:buAutoNum type="alphaLcPeriod"/>
              <a:defRPr sz="2000"/>
            </a:lvl4pPr>
            <a:lvl5pPr marL="863878" indent="-431939">
              <a:buFont typeface="+mj-lt"/>
              <a:buAutoNum type="alphaLcPeriod"/>
              <a:defRPr sz="2000"/>
            </a:lvl5pPr>
            <a:lvl6pPr marL="863878" indent="-431939">
              <a:buFont typeface="+mj-lt"/>
              <a:buAutoNum type="alphaLcPeriod"/>
              <a:defRPr sz="2000"/>
            </a:lvl6pPr>
            <a:lvl7pPr marL="863878" indent="-431939">
              <a:buFont typeface="+mj-lt"/>
              <a:buAutoNum type="alphaLcPeriod"/>
              <a:defRPr sz="2000"/>
            </a:lvl7pPr>
            <a:lvl8pPr marL="863878" indent="-431939">
              <a:buFont typeface="+mj-lt"/>
              <a:buAutoNum type="alphaLcPeriod"/>
              <a:defRPr sz="2000"/>
            </a:lvl8pPr>
            <a:lvl9pPr marL="863878" indent="-431939">
              <a:buFont typeface="+mj-lt"/>
              <a:buAutoNum type="alphaLcPeriod"/>
              <a:defRPr sz="2000"/>
            </a:lvl9pPr>
          </a:lstStyle>
          <a:p>
            <a:pPr lvl="0"/>
            <a:r>
              <a:rPr lang="de-DE" dirty="0" smtClean="0"/>
              <a:t>Agenda Punk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Unterpunkt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2466793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6086" y="1511767"/>
            <a:ext cx="11405389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6086" y="1511767"/>
            <a:ext cx="11405389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1059" y="1511767"/>
            <a:ext cx="9635443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6086" y="1511300"/>
            <a:ext cx="11405389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6465" y="1511300"/>
            <a:ext cx="772463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288" y="1511299"/>
            <a:ext cx="11406188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6086" y="2431828"/>
            <a:ext cx="11405389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8466" y="1511768"/>
            <a:ext cx="184225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7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2308466" y="2502758"/>
            <a:ext cx="1842421" cy="921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2402" y="2503829"/>
            <a:ext cx="2796723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7" name="Bildplatzhalter 8"/>
          <p:cNvSpPr>
            <a:spLocks noGrp="1"/>
          </p:cNvSpPr>
          <p:nvPr userDrawn="1">
            <p:ph type="pic" sz="quarter" idx="25" hasCustomPrompt="1"/>
          </p:nvPr>
        </p:nvSpPr>
        <p:spPr bwMode="gray">
          <a:xfrm>
            <a:off x="7091126" y="2503829"/>
            <a:ext cx="884036" cy="92052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8" name="Bildplatzhalter 8"/>
          <p:cNvSpPr>
            <a:spLocks noGrp="1"/>
          </p:cNvSpPr>
          <p:nvPr userDrawn="1">
            <p:ph type="pic" sz="quarter" idx="26" hasCustomPrompt="1"/>
          </p:nvPr>
        </p:nvSpPr>
        <p:spPr bwMode="gray">
          <a:xfrm>
            <a:off x="7091124" y="3495678"/>
            <a:ext cx="884036" cy="91906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4151" y="4486747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6677" y="1511768"/>
            <a:ext cx="184242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61876" y="1511768"/>
            <a:ext cx="18396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4137514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6086" y="1511767"/>
            <a:ext cx="11405389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6086" y="1511767"/>
            <a:ext cx="11405389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1059" y="1511767"/>
            <a:ext cx="9635443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6086" y="1511300"/>
            <a:ext cx="11405389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6465" y="1511300"/>
            <a:ext cx="772463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288" y="1511299"/>
            <a:ext cx="11406188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6086" y="2431828"/>
            <a:ext cx="11405389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4151" y="4486747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6677" y="1511768"/>
            <a:ext cx="184242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61876" y="1511768"/>
            <a:ext cx="18396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2596090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6086" y="1511767"/>
            <a:ext cx="11405389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6086" y="1511767"/>
            <a:ext cx="11405389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1059" y="1511767"/>
            <a:ext cx="9635443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6086" y="1511300"/>
            <a:ext cx="11405389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6465" y="1511300"/>
            <a:ext cx="772463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288" y="1511299"/>
            <a:ext cx="11406188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6086" y="2431828"/>
            <a:ext cx="11405389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4151" y="3495677"/>
            <a:ext cx="184101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3495677"/>
            <a:ext cx="18396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6677" y="1511768"/>
            <a:ext cx="184242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61876" y="1511768"/>
            <a:ext cx="18396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1" y="1511768"/>
            <a:ext cx="3752659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145773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835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3" name="Textplatzhalter 3"/>
          <p:cNvSpPr>
            <a:spLocks noGrp="1" noChangeAspect="1"/>
          </p:cNvSpPr>
          <p:nvPr>
            <p:ph type="body" sz="quarter" idx="67" hasCustomPrompt="1"/>
          </p:nvPr>
        </p:nvSpPr>
        <p:spPr bwMode="white">
          <a:xfrm rot="9427937">
            <a:off x="2801345" y="4585641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4" name="Textplatzhalter 3"/>
          <p:cNvSpPr>
            <a:spLocks noGrp="1" noChangeAspect="1"/>
          </p:cNvSpPr>
          <p:nvPr>
            <p:ph type="body" sz="quarter" idx="56" hasCustomPrompt="1"/>
          </p:nvPr>
        </p:nvSpPr>
        <p:spPr bwMode="white">
          <a:xfrm rot="19732274">
            <a:off x="7736400" y="2229088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5" name="Textplatzhalter 3"/>
          <p:cNvSpPr>
            <a:spLocks noGrp="1" noChangeAspect="1"/>
          </p:cNvSpPr>
          <p:nvPr>
            <p:ph type="body" sz="quarter" idx="57" hasCustomPrompt="1"/>
          </p:nvPr>
        </p:nvSpPr>
        <p:spPr bwMode="white">
          <a:xfrm rot="18468895">
            <a:off x="6290280" y="1023594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6" name="Textplatzhalter 3"/>
          <p:cNvSpPr>
            <a:spLocks noGrp="1" noChangeAspect="1"/>
          </p:cNvSpPr>
          <p:nvPr>
            <p:ph type="body" sz="quarter" idx="58" hasCustomPrompt="1"/>
          </p:nvPr>
        </p:nvSpPr>
        <p:spPr bwMode="white">
          <a:xfrm rot="11041244">
            <a:off x="2433553" y="2044006"/>
            <a:ext cx="2204126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7" name="Textplatzhalter 3"/>
          <p:cNvSpPr>
            <a:spLocks noGrp="1" noChangeAspect="1"/>
          </p:cNvSpPr>
          <p:nvPr>
            <p:ph type="body" sz="quarter" idx="59" hasCustomPrompt="1"/>
          </p:nvPr>
        </p:nvSpPr>
        <p:spPr bwMode="white">
          <a:xfrm rot="10320000">
            <a:off x="985266" y="5929818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9" name="Textplatzhalter 3"/>
          <p:cNvSpPr>
            <a:spLocks noGrp="1" noChangeAspect="1"/>
          </p:cNvSpPr>
          <p:nvPr>
            <p:ph type="body" sz="quarter" idx="61" hasCustomPrompt="1"/>
          </p:nvPr>
        </p:nvSpPr>
        <p:spPr bwMode="white">
          <a:xfrm rot="12197832">
            <a:off x="2021227" y="1163906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50" name="Textplatzhalter 3"/>
          <p:cNvSpPr>
            <a:spLocks noGrp="1" noChangeAspect="1"/>
          </p:cNvSpPr>
          <p:nvPr>
            <p:ph type="body" sz="quarter" idx="62" hasCustomPrompt="1"/>
          </p:nvPr>
        </p:nvSpPr>
        <p:spPr bwMode="white">
          <a:xfrm rot="11425296">
            <a:off x="3307430" y="344799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51" name="Textplatzhalter 3"/>
          <p:cNvSpPr>
            <a:spLocks noGrp="1" noChangeAspect="1"/>
          </p:cNvSpPr>
          <p:nvPr>
            <p:ph type="body" sz="quarter" idx="63" hasCustomPrompt="1"/>
          </p:nvPr>
        </p:nvSpPr>
        <p:spPr bwMode="white">
          <a:xfrm rot="17090839" flipH="1" flipV="1">
            <a:off x="4827733" y="551160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52" name="Textplatzhalter 3"/>
          <p:cNvSpPr>
            <a:spLocks noGrp="1" noChangeAspect="1"/>
          </p:cNvSpPr>
          <p:nvPr>
            <p:ph type="body" sz="quarter" idx="64" hasCustomPrompt="1"/>
          </p:nvPr>
        </p:nvSpPr>
        <p:spPr bwMode="white">
          <a:xfrm rot="12243241" flipH="1" flipV="1">
            <a:off x="8575274" y="4464855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53" name="Textplatzhalter 3"/>
          <p:cNvSpPr>
            <a:spLocks noGrp="1" noChangeAspect="1"/>
          </p:cNvSpPr>
          <p:nvPr>
            <p:ph type="body" sz="quarter" idx="65" hasCustomPrompt="1"/>
          </p:nvPr>
        </p:nvSpPr>
        <p:spPr bwMode="white">
          <a:xfrm rot="10046435" flipH="1" flipV="1">
            <a:off x="7813592" y="3424709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54" name="Textplatzhalter 3"/>
          <p:cNvSpPr>
            <a:spLocks noGrp="1" noChangeAspect="1"/>
          </p:cNvSpPr>
          <p:nvPr>
            <p:ph type="body" sz="quarter" idx="66" hasCustomPrompt="1"/>
          </p:nvPr>
        </p:nvSpPr>
        <p:spPr bwMode="white">
          <a:xfrm rot="2851924">
            <a:off x="6569910" y="4964630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8" name="Textplatzhalter 3"/>
          <p:cNvSpPr>
            <a:spLocks noGrp="1" noChangeAspect="1"/>
          </p:cNvSpPr>
          <p:nvPr>
            <p:ph type="body" sz="quarter" idx="60" hasCustomPrompt="1"/>
          </p:nvPr>
        </p:nvSpPr>
        <p:spPr bwMode="white">
          <a:xfrm rot="20824625">
            <a:off x="8647912" y="765256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>
          <a:xfrm>
            <a:off x="452893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>
          <a:xfrm>
            <a:off x="396001" y="1786681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>
          <a:xfrm>
            <a:off x="396001" y="462604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96001" y="3206363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>
          <a:xfrm>
            <a:off x="4528931" y="6043658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>
          <a:xfrm>
            <a:off x="396001" y="6045725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>
          <a:xfrm>
            <a:off x="8661861" y="178616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>
          <a:xfrm>
            <a:off x="8661861" y="462449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>
          <a:xfrm>
            <a:off x="8661861" y="320532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>
          <a:xfrm>
            <a:off x="866186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>
          <a:xfrm>
            <a:off x="8661861" y="6043658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9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70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115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1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111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112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4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3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4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5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8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79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0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1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2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3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8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8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49148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4" y="1"/>
            <a:ext cx="1219920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290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Headline zweizeilig in CorpoA (Überschriften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289" y="1512000"/>
            <a:ext cx="5508000" cy="29493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5"/>
            <a:r>
              <a:rPr lang="de-DE" dirty="0" smtClean="0"/>
              <a:t>Fünfte Ebene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7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68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94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9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90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91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5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7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6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7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8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1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82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3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4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5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6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96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97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59603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4" y="1"/>
            <a:ext cx="1219920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0"/>
            <a:ext cx="6062918" cy="4548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5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66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93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89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90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8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6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5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6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7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0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81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2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3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4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5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9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9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57352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4" y="1"/>
            <a:ext cx="1219920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6135176" y="0"/>
            <a:ext cx="6063175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6135952" y="4619700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0" y="-1"/>
            <a:ext cx="2995458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067717" y="0"/>
            <a:ext cx="29954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67458" y="1155601"/>
            <a:ext cx="2994942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067458" y="4619700"/>
            <a:ext cx="2994942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1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63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108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5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88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89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5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8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5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6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9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80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1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2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3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4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110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111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  <p:grpSp>
        <p:nvGrpSpPr>
          <p:cNvPr id="91" name="Gruppieren 90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12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114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115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6" name="Zuschneiden"/>
              <p:cNvPicPr>
                <a:picLocks noChangeAspect="1" noChangeArrowheads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7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8" name="Einpassen"/>
              <p:cNvPicPr>
                <a:picLocks noChangeAspect="1" noChangeArrowheads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13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0080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4" y="1"/>
            <a:ext cx="1219920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203151" y="0"/>
            <a:ext cx="2995201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5175" y="577440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2309400"/>
            <a:ext cx="2995717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0"/>
            <a:ext cx="2995717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1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63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108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5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88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89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5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8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5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6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9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80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1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2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3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4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110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111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  <p:grpSp>
        <p:nvGrpSpPr>
          <p:cNvPr id="91" name="Gruppieren 90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12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114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115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6" name="Zuschneiden"/>
              <p:cNvPicPr>
                <a:picLocks noChangeAspect="1" noChangeArrowheads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7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8" name="Einpassen"/>
              <p:cNvPicPr>
                <a:picLocks noChangeAspect="1" noChangeArrowheads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13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7237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4" y="1"/>
            <a:ext cx="1219920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203151" y="0"/>
            <a:ext cx="2995201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5951" y="5774400"/>
            <a:ext cx="2994942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1" y="2309400"/>
            <a:ext cx="2994942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1" y="1155600"/>
            <a:ext cx="299519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1" y="4619700"/>
            <a:ext cx="299519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3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65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109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0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90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91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5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7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6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7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8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1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82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3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4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5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6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111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112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  <p:grpSp>
        <p:nvGrpSpPr>
          <p:cNvPr id="108" name="Gruppieren 107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13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115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116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7" name="Zuschneiden"/>
              <p:cNvPicPr>
                <a:picLocks noChangeAspect="1" noChangeArrowheads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8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9" name="Einpassen"/>
              <p:cNvPicPr>
                <a:picLocks noChangeAspect="1" noChangeArrowheads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0171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835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540000"/>
          </a:xfrm>
        </p:spPr>
        <p:txBody>
          <a:bodyPr/>
          <a:lstStyle>
            <a:lvl1pPr>
              <a:defRPr sz="3000"/>
            </a:lvl1pPr>
          </a:lstStyle>
          <a:p>
            <a:r>
              <a:rPr lang="de-DE" dirty="0" smtClean="0"/>
              <a:t>Optionale Headline einzeilig in CorpoA (Überschriften) 30 pt. </a:t>
            </a:r>
            <a:endParaRPr lang="de-DE" dirty="0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31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32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77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3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73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74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4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70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36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37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41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66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67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68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69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42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43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47572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ls Trenn- folie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</p:spPr>
        <p:txBody>
          <a:bodyPr numCol="2" spcCol="244765"/>
          <a:lstStyle>
            <a:lvl1pPr marL="431939" indent="-431939">
              <a:buFont typeface="+mj-lt"/>
              <a:buAutoNum type="arabicPeriod"/>
              <a:defRPr baseline="0">
                <a:solidFill>
                  <a:schemeClr val="accent1"/>
                </a:solidFill>
              </a:defRPr>
            </a:lvl1pPr>
            <a:lvl2pPr marL="863878" indent="-431939">
              <a:buFont typeface="+mj-lt"/>
              <a:buAutoNum type="alphaLcPeriod"/>
              <a:defRPr>
                <a:solidFill>
                  <a:schemeClr val="accent1"/>
                </a:solidFill>
              </a:defRPr>
            </a:lvl2pPr>
            <a:lvl3pPr marL="863878" indent="-431939">
              <a:buFont typeface="+mj-lt"/>
              <a:buAutoNum type="alphaLcPeriod"/>
              <a:defRPr sz="2000">
                <a:solidFill>
                  <a:schemeClr val="accent1"/>
                </a:solidFill>
              </a:defRPr>
            </a:lvl3pPr>
            <a:lvl4pPr marL="863878" indent="-431939">
              <a:buFont typeface="+mj-lt"/>
              <a:buAutoNum type="alphaLcPeriod"/>
              <a:defRPr sz="2000">
                <a:solidFill>
                  <a:schemeClr val="accent1"/>
                </a:solidFill>
              </a:defRPr>
            </a:lvl4pPr>
            <a:lvl5pPr marL="863878" indent="-431939">
              <a:buFont typeface="+mj-lt"/>
              <a:buAutoNum type="alphaLcPeriod"/>
              <a:defRPr sz="2000">
                <a:solidFill>
                  <a:schemeClr val="accent1"/>
                </a:solidFill>
              </a:defRPr>
            </a:lvl5pPr>
            <a:lvl6pPr marL="863878" indent="-431939">
              <a:buFont typeface="+mj-lt"/>
              <a:buAutoNum type="alphaLcPeriod"/>
              <a:defRPr sz="2000">
                <a:solidFill>
                  <a:schemeClr val="accent1"/>
                </a:solidFill>
              </a:defRPr>
            </a:lvl6pPr>
            <a:lvl7pPr marL="863878" indent="-431939">
              <a:buFont typeface="+mj-lt"/>
              <a:buAutoNum type="alphaLcPeriod"/>
              <a:defRPr sz="2000">
                <a:solidFill>
                  <a:schemeClr val="accent1"/>
                </a:solidFill>
              </a:defRPr>
            </a:lvl7pPr>
            <a:lvl8pPr marL="863878" indent="-431939">
              <a:buFont typeface="+mj-lt"/>
              <a:buAutoNum type="alphaLcPeriod"/>
              <a:defRPr sz="2000">
                <a:solidFill>
                  <a:schemeClr val="accent1"/>
                </a:solidFill>
              </a:defRPr>
            </a:lvl8pPr>
            <a:lvl9pPr marL="863878" indent="-431939">
              <a:buFont typeface="+mj-lt"/>
              <a:buAutoNum type="alphaLcPeriod"/>
              <a:defRPr sz="20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dirty="0" smtClean="0"/>
              <a:t>Agenda Punkt in </a:t>
            </a:r>
            <a:r>
              <a:rPr lang="de-DE" noProof="0" dirty="0" smtClean="0"/>
              <a:t>CorpoS</a:t>
            </a:r>
            <a:r>
              <a:rPr lang="en-US" dirty="0" smtClean="0"/>
              <a:t>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Unterpunkt: Start // Absatz // Listenebene erhöhen (Highlight in „Pure blue“ (Akzent 2))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531875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68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err="1" smtClean="0">
              <a:solidFill>
                <a:schemeClr val="bg1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0"/>
            <a:ext cx="12198097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95287" y="3848402"/>
            <a:ext cx="8928000" cy="1044000"/>
          </a:xfrm>
        </p:spPr>
        <p:txBody>
          <a:bodyPr/>
          <a:lstStyle>
            <a:lvl1pPr>
              <a:lnSpc>
                <a:spcPts val="3999"/>
              </a:lnSpc>
              <a:defRPr sz="3000"/>
            </a:lvl1pPr>
          </a:lstStyle>
          <a:p>
            <a:r>
              <a:rPr lang="de-DE" dirty="0" smtClean="0"/>
              <a:t>Präsentationstitel 30 pt über eine Zeile.</a:t>
            </a:r>
            <a:br>
              <a:rPr lang="de-DE" dirty="0" smtClean="0"/>
            </a:br>
            <a:r>
              <a:rPr lang="de-DE" dirty="0" smtClean="0"/>
              <a:t>Zweite Zeile möglich.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 smtClean="0"/>
              <a:t>Zusatztext zur Präsentation 15 pt </a:t>
            </a:r>
            <a:br>
              <a:rPr lang="de-DE" dirty="0" smtClean="0"/>
            </a:br>
            <a:r>
              <a:rPr lang="de-DE" dirty="0" smtClean="0"/>
              <a:t>Referent, Abteilung, Ort, Datum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835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87796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</p:spPr>
        <p:txBody>
          <a:bodyPr numCol="2" spcCol="244765"/>
          <a:lstStyle>
            <a:lvl1pPr marL="431939" indent="-431939">
              <a:buFont typeface="+mj-lt"/>
              <a:buAutoNum type="arabicPeriod"/>
              <a:defRPr baseline="0"/>
            </a:lvl1pPr>
            <a:lvl2pPr marL="863878" indent="-431939">
              <a:buFont typeface="+mj-lt"/>
              <a:buAutoNum type="alphaLcPeriod"/>
              <a:defRPr/>
            </a:lvl2pPr>
            <a:lvl3pPr marL="863878" indent="-431939">
              <a:buFont typeface="+mj-lt"/>
              <a:buAutoNum type="alphaLcPeriod"/>
              <a:defRPr sz="2000"/>
            </a:lvl3pPr>
            <a:lvl4pPr marL="863878" indent="-431939">
              <a:buFont typeface="+mj-lt"/>
              <a:buAutoNum type="alphaLcPeriod"/>
              <a:defRPr sz="2000"/>
            </a:lvl4pPr>
            <a:lvl5pPr marL="863878" indent="-431939">
              <a:buFont typeface="+mj-lt"/>
              <a:buAutoNum type="alphaLcPeriod"/>
              <a:defRPr sz="2000"/>
            </a:lvl5pPr>
            <a:lvl6pPr marL="863878" indent="-431939">
              <a:buFont typeface="+mj-lt"/>
              <a:buAutoNum type="alphaLcPeriod"/>
              <a:defRPr sz="2000"/>
            </a:lvl6pPr>
            <a:lvl7pPr marL="863878" indent="-431939">
              <a:buFont typeface="+mj-lt"/>
              <a:buAutoNum type="alphaLcPeriod"/>
              <a:defRPr sz="2000"/>
            </a:lvl7pPr>
            <a:lvl8pPr marL="863878" indent="-431939">
              <a:buFont typeface="+mj-lt"/>
              <a:buAutoNum type="alphaLcPeriod"/>
              <a:defRPr sz="2000"/>
            </a:lvl8pPr>
            <a:lvl9pPr marL="863878" indent="-431939">
              <a:buFont typeface="+mj-lt"/>
              <a:buAutoNum type="alphaLcPeriod"/>
              <a:defRPr sz="2000"/>
            </a:lvl9pPr>
          </a:lstStyle>
          <a:p>
            <a:pPr lvl="0"/>
            <a:r>
              <a:rPr lang="de-DE" dirty="0" smtClean="0"/>
              <a:t>Agenda Punk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Unterpunkt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1224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ls Trenn- folie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</p:spPr>
        <p:txBody>
          <a:bodyPr numCol="2" spcCol="244765"/>
          <a:lstStyle>
            <a:lvl1pPr marL="431939" indent="-431939">
              <a:buFont typeface="+mj-lt"/>
              <a:buAutoNum type="arabicPeriod"/>
              <a:defRPr baseline="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  <a:lvl2pPr marL="863878" indent="-431939">
              <a:buFont typeface="+mj-lt"/>
              <a:buAutoNum type="alphaLcPeriod"/>
              <a:defRPr>
                <a:solidFill>
                  <a:schemeClr val="bg1">
                    <a:lumMod val="65000"/>
                    <a:lumOff val="35000"/>
                  </a:schemeClr>
                </a:solidFill>
              </a:defRPr>
            </a:lvl2pPr>
            <a:lvl3pPr marL="863878" indent="-431939">
              <a:buFont typeface="+mj-lt"/>
              <a:buAutoNum type="alphaLcPeriod"/>
              <a:defRPr sz="2000">
                <a:solidFill>
                  <a:schemeClr val="bg1">
                    <a:lumMod val="65000"/>
                    <a:lumOff val="35000"/>
                  </a:schemeClr>
                </a:solidFill>
              </a:defRPr>
            </a:lvl3pPr>
            <a:lvl4pPr marL="863878" indent="-431939">
              <a:buFont typeface="+mj-lt"/>
              <a:buAutoNum type="alphaLcPeriod"/>
              <a:defRPr sz="2000">
                <a:solidFill>
                  <a:schemeClr val="bg1">
                    <a:lumMod val="65000"/>
                    <a:lumOff val="35000"/>
                  </a:schemeClr>
                </a:solidFill>
              </a:defRPr>
            </a:lvl4pPr>
            <a:lvl5pPr marL="863878" indent="-431939">
              <a:buFont typeface="+mj-lt"/>
              <a:buAutoNum type="alphaLcPeriod"/>
              <a:defRPr sz="2000">
                <a:solidFill>
                  <a:schemeClr val="bg1">
                    <a:lumMod val="65000"/>
                    <a:lumOff val="35000"/>
                  </a:schemeClr>
                </a:solidFill>
              </a:defRPr>
            </a:lvl5pPr>
            <a:lvl6pPr marL="863878" indent="-431939">
              <a:buFont typeface="+mj-lt"/>
              <a:buAutoNum type="alphaLcPeriod"/>
              <a:defRPr sz="2000">
                <a:solidFill>
                  <a:schemeClr val="bg1">
                    <a:lumMod val="65000"/>
                    <a:lumOff val="35000"/>
                  </a:schemeClr>
                </a:solidFill>
              </a:defRPr>
            </a:lvl6pPr>
            <a:lvl7pPr marL="863878" indent="-431939">
              <a:buFont typeface="+mj-lt"/>
              <a:buAutoNum type="alphaLcPeriod"/>
              <a:defRPr sz="2000">
                <a:solidFill>
                  <a:schemeClr val="bg1">
                    <a:lumMod val="65000"/>
                    <a:lumOff val="35000"/>
                  </a:schemeClr>
                </a:solidFill>
              </a:defRPr>
            </a:lvl7pPr>
            <a:lvl8pPr marL="863878" indent="-431939">
              <a:buFont typeface="+mj-lt"/>
              <a:buAutoNum type="alphaLcPeriod"/>
              <a:defRPr sz="2000">
                <a:solidFill>
                  <a:schemeClr val="bg1">
                    <a:lumMod val="65000"/>
                    <a:lumOff val="35000"/>
                  </a:schemeClr>
                </a:solidFill>
              </a:defRPr>
            </a:lvl8pPr>
            <a:lvl9pPr marL="863878" indent="-431939">
              <a:buFont typeface="+mj-lt"/>
              <a:buAutoNum type="alphaLcPeriod"/>
              <a:defRPr sz="2000">
                <a:solidFill>
                  <a:schemeClr val="bg1">
                    <a:lumMod val="65000"/>
                    <a:lumOff val="3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Agenda Punkt in </a:t>
            </a:r>
            <a:r>
              <a:rPr lang="de-DE" noProof="0" dirty="0" smtClean="0"/>
              <a:t>CorpoS</a:t>
            </a:r>
            <a:r>
              <a:rPr lang="en-US" dirty="0" smtClean="0"/>
              <a:t>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Unterpunkt: Start // Absatz // Listenebene erhöhen (Highlight in „Pure blue“ (Akzent 2))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641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Inhalt oder 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3214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Inhalt oder 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2147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Inhalt oder 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475609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0799" y="1512000"/>
            <a:ext cx="5580676" cy="4914201"/>
          </a:xfrm>
        </p:spPr>
        <p:txBody>
          <a:bodyPr/>
          <a:lstStyle/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3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16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17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8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9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5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4172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476" y="15113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476" y="3502801"/>
            <a:ext cx="5579999" cy="2923400"/>
          </a:xfrm>
        </p:spPr>
        <p:txBody>
          <a:bodyPr/>
          <a:lstStyle/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287" y="3502801"/>
            <a:ext cx="5579999" cy="2923400"/>
          </a:xfrm>
        </p:spPr>
        <p:txBody>
          <a:bodyPr/>
          <a:lstStyle/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6" name="Gruppieren 15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7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19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20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2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3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8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5558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11405475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6030980"/>
            <a:ext cx="114047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0451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9943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004275" y="3810874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9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395287" y="4208401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1" name="Bildplatzhalter 8"/>
          <p:cNvSpPr>
            <a:spLocks noGrp="1"/>
          </p:cNvSpPr>
          <p:nvPr userDrawn="1">
            <p:ph type="pic" sz="quarter" idx="17" hasCustomPrompt="1"/>
          </p:nvPr>
        </p:nvSpPr>
        <p:spPr bwMode="gray">
          <a:xfrm>
            <a:off x="6134613" y="4208401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Bildplatzhalter 8"/>
          <p:cNvSpPr>
            <a:spLocks noGrp="1"/>
          </p:cNvSpPr>
          <p:nvPr userDrawn="1">
            <p:ph type="pic" sz="quarter" idx="18" hasCustomPrompt="1"/>
          </p:nvPr>
        </p:nvSpPr>
        <p:spPr bwMode="gray">
          <a:xfrm>
            <a:off x="3264950" y="4208401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0" name="Bildplatzhalter 8"/>
          <p:cNvSpPr>
            <a:spLocks noGrp="1"/>
          </p:cNvSpPr>
          <p:nvPr userDrawn="1">
            <p:ph type="pic" sz="quarter" idx="29" hasCustomPrompt="1"/>
          </p:nvPr>
        </p:nvSpPr>
        <p:spPr bwMode="gray">
          <a:xfrm>
            <a:off x="9004275" y="4208401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95287" y="1906475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6134613" y="1906475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2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3264950" y="1906475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9" name="Bildplatzhalter 8"/>
          <p:cNvSpPr>
            <a:spLocks noGrp="1"/>
          </p:cNvSpPr>
          <p:nvPr userDrawn="1">
            <p:ph type="pic" sz="quarter" idx="28" hasCustomPrompt="1"/>
          </p:nvPr>
        </p:nvSpPr>
        <p:spPr bwMode="gray">
          <a:xfrm>
            <a:off x="9004275" y="1906475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395288" y="151200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16" name="Textplatzhalter 3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3264950" y="151200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17" name="Textplatzhalter 3"/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6134612" y="151200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41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004275" y="151200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14" name="Textplatzhalter 3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395288" y="3810874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18" name="Textplatzhalter 3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3264950" y="3810874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19" name="Textplatzhalter 3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6134612" y="3810874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33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35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36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3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9796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Inhalt oder 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259985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607" y="5252601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7176" y="2758401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7176" y="1511301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7176" y="4005501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9175" y="1512000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9175" y="2758867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9175" y="4005734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9175" y="5252601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6000" y="1512000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6000" y="52526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6000" y="4005734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6000" y="2758867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0001474" y="15113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01474" y="52526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001474" y="40055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0001474" y="27584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8671" y="15113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8671" y="40055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8671" y="27584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8671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4000" y="1512000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4000" y="4005734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4000" y="2758867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4000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white">
          <a:xfrm>
            <a:off x="3996005" y="2098800"/>
            <a:ext cx="483170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white">
          <a:xfrm>
            <a:off x="3996005" y="3345667"/>
            <a:ext cx="483170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white">
          <a:xfrm flipH="1">
            <a:off x="7719176" y="2098101"/>
            <a:ext cx="47949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white">
          <a:xfrm>
            <a:off x="7719176" y="3345201"/>
            <a:ext cx="47949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white">
          <a:xfrm>
            <a:off x="7719176" y="4592301"/>
            <a:ext cx="47949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white">
          <a:xfrm>
            <a:off x="7715607" y="5839401"/>
            <a:ext cx="483064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white">
          <a:xfrm>
            <a:off x="3996005" y="5839401"/>
            <a:ext cx="483170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white">
          <a:xfrm>
            <a:off x="3996005" y="4592534"/>
            <a:ext cx="483170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48" name="Gruppieren 47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49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51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52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3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3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4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50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0163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4337" y="2757600"/>
            <a:ext cx="6148800" cy="2421734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23" name="Textplatzhalter 3"/>
          <p:cNvSpPr>
            <a:spLocks noGrp="1" noChangeAspect="1"/>
          </p:cNvSpPr>
          <p:nvPr>
            <p:ph type="body" sz="quarter" idx="67" hasCustomPrompt="1"/>
          </p:nvPr>
        </p:nvSpPr>
        <p:spPr>
          <a:xfrm rot="9427937">
            <a:off x="2425691" y="5284427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1" name="Textplatzhalter 3"/>
          <p:cNvSpPr>
            <a:spLocks noGrp="1" noChangeAspect="1"/>
          </p:cNvSpPr>
          <p:nvPr>
            <p:ph type="body" sz="quarter" idx="56" hasCustomPrompt="1"/>
          </p:nvPr>
        </p:nvSpPr>
        <p:spPr>
          <a:xfrm rot="17090839">
            <a:off x="7964704" y="280890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2" name="Textplatzhalter 3"/>
          <p:cNvSpPr>
            <a:spLocks noGrp="1" noChangeAspect="1"/>
          </p:cNvSpPr>
          <p:nvPr>
            <p:ph type="body" sz="quarter" idx="57" hasCustomPrompt="1"/>
          </p:nvPr>
        </p:nvSpPr>
        <p:spPr>
          <a:xfrm rot="18468895">
            <a:off x="6090519" y="2581063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3" name="Textplatzhalter 3"/>
          <p:cNvSpPr>
            <a:spLocks noGrp="1" noChangeAspect="1"/>
          </p:cNvSpPr>
          <p:nvPr>
            <p:ph type="body" sz="quarter" idx="58" hasCustomPrompt="1"/>
          </p:nvPr>
        </p:nvSpPr>
        <p:spPr>
          <a:xfrm rot="11041244">
            <a:off x="2483054" y="3144224"/>
            <a:ext cx="2204126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4" name="Textplatzhalter 3"/>
          <p:cNvSpPr>
            <a:spLocks noGrp="1" noChangeAspect="1"/>
          </p:cNvSpPr>
          <p:nvPr>
            <p:ph type="body" sz="quarter" idx="59" hasCustomPrompt="1"/>
          </p:nvPr>
        </p:nvSpPr>
        <p:spPr>
          <a:xfrm rot="10320000">
            <a:off x="2608500" y="4603312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5" name="Textplatzhalter 3"/>
          <p:cNvSpPr>
            <a:spLocks noGrp="1" noChangeAspect="1"/>
          </p:cNvSpPr>
          <p:nvPr>
            <p:ph type="body" sz="quarter" idx="60" hasCustomPrompt="1"/>
          </p:nvPr>
        </p:nvSpPr>
        <p:spPr>
          <a:xfrm rot="3540000">
            <a:off x="5861589" y="4897309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6" name="Textplatzhalter 3"/>
          <p:cNvSpPr>
            <a:spLocks noGrp="1" noChangeAspect="1"/>
          </p:cNvSpPr>
          <p:nvPr>
            <p:ph type="body" sz="quarter" idx="61" hasCustomPrompt="1"/>
          </p:nvPr>
        </p:nvSpPr>
        <p:spPr>
          <a:xfrm rot="12197832">
            <a:off x="2201247" y="2579449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7" name="Textplatzhalter 3"/>
          <p:cNvSpPr>
            <a:spLocks noGrp="1" noChangeAspect="1"/>
          </p:cNvSpPr>
          <p:nvPr>
            <p:ph type="body" sz="quarter" idx="62" hasCustomPrompt="1"/>
          </p:nvPr>
        </p:nvSpPr>
        <p:spPr>
          <a:xfrm rot="13889278">
            <a:off x="4708703" y="252068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8" name="Textplatzhalter 3"/>
          <p:cNvSpPr>
            <a:spLocks noGrp="1" noChangeAspect="1"/>
          </p:cNvSpPr>
          <p:nvPr>
            <p:ph type="body" sz="quarter" idx="63" hasCustomPrompt="1"/>
          </p:nvPr>
        </p:nvSpPr>
        <p:spPr>
          <a:xfrm rot="17090839" flipH="1" flipV="1">
            <a:off x="4827733" y="538222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9" name="Textplatzhalter 3"/>
          <p:cNvSpPr>
            <a:spLocks noGrp="1" noChangeAspect="1"/>
          </p:cNvSpPr>
          <p:nvPr>
            <p:ph type="body" sz="quarter" idx="64" hasCustomPrompt="1"/>
          </p:nvPr>
        </p:nvSpPr>
        <p:spPr>
          <a:xfrm rot="12243241" flipH="1" flipV="1">
            <a:off x="8587331" y="4580694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20" name="Textplatzhalter 3"/>
          <p:cNvSpPr>
            <a:spLocks noGrp="1" noChangeAspect="1"/>
          </p:cNvSpPr>
          <p:nvPr>
            <p:ph type="body" sz="quarter" idx="65" hasCustomPrompt="1"/>
          </p:nvPr>
        </p:nvSpPr>
        <p:spPr>
          <a:xfrm rot="10046435" flipH="1" flipV="1">
            <a:off x="8610544" y="3345727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22" name="Textplatzhalter 3"/>
          <p:cNvSpPr>
            <a:spLocks noGrp="1" noChangeAspect="1"/>
          </p:cNvSpPr>
          <p:nvPr>
            <p:ph type="body" sz="quarter" idx="66" hasCustomPrompt="1"/>
          </p:nvPr>
        </p:nvSpPr>
        <p:spPr>
          <a:xfrm rot="2851924">
            <a:off x="6698739" y="4854467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6000" y="5252601"/>
            <a:ext cx="37548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3026" y="5252601"/>
            <a:ext cx="18396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</a:t>
            </a:r>
            <a:r>
              <a:rPr lang="de-DE" noProof="0" dirty="0" smtClean="0"/>
              <a:t>CorpoS</a:t>
            </a:r>
            <a:r>
              <a:rPr lang="en-US" dirty="0" smtClean="0"/>
              <a:t> 15 pt. </a:t>
            </a:r>
            <a:r>
              <a:rPr lang="de-DE" dirty="0" smtClean="0"/>
              <a:t>// kleineren Text: Listenebene erhöhen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4851" y="5252601"/>
            <a:ext cx="18396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</a:t>
            </a:r>
            <a:r>
              <a:rPr lang="de-DE" noProof="0" dirty="0" smtClean="0"/>
              <a:t>CorpoS</a:t>
            </a:r>
            <a:r>
              <a:rPr lang="en-US" dirty="0" smtClean="0"/>
              <a:t> 15 pt. </a:t>
            </a:r>
            <a:r>
              <a:rPr lang="de-DE" dirty="0" smtClean="0"/>
              <a:t>// kleineren Text: Listenebene erhöhen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6000" y="1512000"/>
            <a:ext cx="37548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6000" y="2758867"/>
            <a:ext cx="25560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6000" y="4005735"/>
            <a:ext cx="25560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3" name="Textplatzhalter 3"/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8046674" y="1512000"/>
            <a:ext cx="37548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5474" y="2758867"/>
            <a:ext cx="25560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5474" y="4005735"/>
            <a:ext cx="25560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4851" y="1512000"/>
            <a:ext cx="18396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marR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</a:t>
            </a:r>
            <a:r>
              <a:rPr lang="de-DE" noProof="0" dirty="0" smtClean="0"/>
              <a:t>CorpoS</a:t>
            </a:r>
            <a:r>
              <a:rPr lang="en-US" dirty="0" smtClean="0"/>
              <a:t> 15 pt. </a:t>
            </a:r>
            <a:r>
              <a:rPr lang="de-DE" dirty="0" smtClean="0"/>
              <a:t>// kleineren Text: Listenebene erhöhen</a:t>
            </a:r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6674" y="5252601"/>
            <a:ext cx="37548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3026" y="1512000"/>
            <a:ext cx="18396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</a:t>
            </a:r>
            <a:r>
              <a:rPr lang="de-DE" noProof="0" dirty="0" smtClean="0"/>
              <a:t>CorpoS</a:t>
            </a:r>
            <a:r>
              <a:rPr lang="en-US" dirty="0" smtClean="0"/>
              <a:t> 15 pt. </a:t>
            </a:r>
            <a:r>
              <a:rPr lang="de-DE" dirty="0" smtClean="0"/>
              <a:t>// kleineren Text: Listenebene erhöh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68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41" name="Gruppieren 40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42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44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45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6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7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8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43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96240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 //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4222800" y="1836000"/>
            <a:ext cx="3754800" cy="10800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4222800" y="1512000"/>
            <a:ext cx="3754800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4222800" y="5346001"/>
            <a:ext cx="3754800" cy="10802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4222800" y="5022000"/>
            <a:ext cx="3754800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6000" y="1836001"/>
            <a:ext cx="3754800" cy="20880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6000" y="1512000"/>
            <a:ext cx="3754800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396000" y="4320000"/>
            <a:ext cx="3754800" cy="21062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396000" y="3996000"/>
            <a:ext cx="3754800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2988100"/>
            <a:ext cx="3754800" cy="19620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54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8046676" y="4950100"/>
            <a:ext cx="3754800" cy="14761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046676" y="4626100"/>
            <a:ext cx="3754800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8046676" y="1836000"/>
            <a:ext cx="3754800" cy="11521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8046676" y="1512000"/>
            <a:ext cx="3754800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9" hasCustomPrompt="1"/>
          </p:nvPr>
        </p:nvSpPr>
        <p:spPr bwMode="gray">
          <a:xfrm>
            <a:off x="8046676" y="3384001"/>
            <a:ext cx="3754800" cy="11700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80" hasCustomPrompt="1"/>
          </p:nvPr>
        </p:nvSpPr>
        <p:spPr bwMode="gray">
          <a:xfrm>
            <a:off x="8046676" y="3060000"/>
            <a:ext cx="3754800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81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82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32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34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35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3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261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6000" y="3851886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 </a:t>
            </a:r>
            <a:endParaRPr lang="de-DE" dirty="0" smtClean="0"/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6000" y="3383769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 </a:t>
            </a:r>
            <a:endParaRPr lang="de-DE" dirty="0" smtClean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6000" y="1511301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 </a:t>
            </a:r>
            <a:endParaRPr lang="de-DE" dirty="0" smtClean="0"/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6000" y="1980001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 </a:t>
            </a:r>
            <a:endParaRPr lang="de-DE" dirty="0" smtClean="0"/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6000" y="2915651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 </a:t>
            </a:r>
            <a:endParaRPr lang="de-DE" dirty="0" smtClean="0"/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6000" y="4320000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 </a:t>
            </a:r>
            <a:endParaRPr lang="de-DE" dirty="0" smtClean="0"/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6000" y="2447534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 </a:t>
            </a:r>
            <a:endParaRPr lang="de-DE" dirty="0" smtClean="0"/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1511300"/>
            <a:ext cx="7578675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8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23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5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6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9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86643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6676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1337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in CorpoS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in CorpoS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3501248"/>
            <a:ext cx="3754800" cy="324000"/>
          </a:xfrm>
        </p:spPr>
        <p:txBody>
          <a:bodyPr/>
          <a:lstStyle>
            <a:lvl1pPr marL="0" marR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in CorpoS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3501248"/>
            <a:ext cx="3754800" cy="324000"/>
          </a:xfrm>
        </p:spPr>
        <p:txBody>
          <a:bodyPr/>
          <a:lstStyle>
            <a:lvl1pPr marL="0" marR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in CorpoS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21338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in CorpoS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6676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in CorpoS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28" name="Gruppieren 27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29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31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32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3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4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0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6353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30" name="Gruppieren 29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31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33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34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2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485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1" y="40442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5012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076" y="15113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076" y="40435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076" y="35005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076" y="60302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29" name="Gruppieren 28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30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32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33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4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1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2511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35012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4849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4849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4849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4851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542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542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5425" y="3500548"/>
            <a:ext cx="2797200" cy="324000"/>
          </a:xfrm>
        </p:spPr>
        <p:txBody>
          <a:bodyPr/>
          <a:lstStyle>
            <a:lvl1pPr marL="0" marR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5426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00427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00427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900427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004275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37" name="Gruppieren 36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38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40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41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2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3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4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9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4092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6086" y="1511767"/>
            <a:ext cx="11405389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6086" y="1511767"/>
            <a:ext cx="11405389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1059" y="1511767"/>
            <a:ext cx="9635443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6086" y="1511300"/>
            <a:ext cx="11405389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6465" y="1511300"/>
            <a:ext cx="772463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288" y="1511299"/>
            <a:ext cx="11406188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6086" y="2431828"/>
            <a:ext cx="11405389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8466" y="1511768"/>
            <a:ext cx="184225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7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2308466" y="2502758"/>
            <a:ext cx="1842421" cy="921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2308466" y="3495677"/>
            <a:ext cx="1840379" cy="919068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9" name="Bildplatzhalter 8"/>
          <p:cNvSpPr>
            <a:spLocks noGrp="1"/>
          </p:cNvSpPr>
          <p:nvPr userDrawn="1">
            <p:ph type="pic" sz="quarter" idx="17" hasCustomPrompt="1"/>
          </p:nvPr>
        </p:nvSpPr>
        <p:spPr bwMode="gray">
          <a:xfrm>
            <a:off x="396884" y="4486748"/>
            <a:ext cx="2796863" cy="920062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0" name="Bildplatzhalter 8"/>
          <p:cNvSpPr>
            <a:spLocks noGrp="1"/>
          </p:cNvSpPr>
          <p:nvPr userDrawn="1">
            <p:ph type="pic" sz="quarter" idx="18" hasCustomPrompt="1"/>
          </p:nvPr>
        </p:nvSpPr>
        <p:spPr bwMode="gray">
          <a:xfrm>
            <a:off x="3265118" y="4486747"/>
            <a:ext cx="885768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1" name="Bildplatzhalter 8"/>
          <p:cNvSpPr>
            <a:spLocks noGrp="1"/>
          </p:cNvSpPr>
          <p:nvPr userDrawn="1">
            <p:ph type="pic" sz="quarter" idx="19" hasCustomPrompt="1"/>
          </p:nvPr>
        </p:nvSpPr>
        <p:spPr bwMode="gray">
          <a:xfrm>
            <a:off x="396884" y="3495677"/>
            <a:ext cx="884175" cy="91906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2" name="Bildplatzhalter 8"/>
          <p:cNvSpPr>
            <a:spLocks noGrp="1"/>
          </p:cNvSpPr>
          <p:nvPr userDrawn="1">
            <p:ph type="pic" sz="quarter" idx="20" hasCustomPrompt="1"/>
          </p:nvPr>
        </p:nvSpPr>
        <p:spPr bwMode="gray">
          <a:xfrm>
            <a:off x="1353059" y="3495677"/>
            <a:ext cx="882628" cy="91906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2402" y="3495678"/>
            <a:ext cx="1839600" cy="91906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6" name="Bildplatzhalter 8"/>
          <p:cNvSpPr>
            <a:spLocks noGrp="1"/>
          </p:cNvSpPr>
          <p:nvPr userDrawn="1">
            <p:ph type="pic" sz="quarter" idx="24" hasCustomPrompt="1"/>
          </p:nvPr>
        </p:nvSpPr>
        <p:spPr bwMode="gray">
          <a:xfrm>
            <a:off x="5178436" y="1511768"/>
            <a:ext cx="2796724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7" name="Bildplatzhalter 8"/>
          <p:cNvSpPr>
            <a:spLocks noGrp="1"/>
          </p:cNvSpPr>
          <p:nvPr userDrawn="1">
            <p:ph type="pic" sz="quarter" idx="25" hasCustomPrompt="1"/>
          </p:nvPr>
        </p:nvSpPr>
        <p:spPr bwMode="gray">
          <a:xfrm>
            <a:off x="6134151" y="2503829"/>
            <a:ext cx="1841010" cy="92052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8" name="Bildplatzhalter 8"/>
          <p:cNvSpPr>
            <a:spLocks noGrp="1"/>
          </p:cNvSpPr>
          <p:nvPr userDrawn="1">
            <p:ph type="pic" sz="quarter" idx="26" hasCustomPrompt="1"/>
          </p:nvPr>
        </p:nvSpPr>
        <p:spPr bwMode="gray">
          <a:xfrm>
            <a:off x="6134150" y="3495678"/>
            <a:ext cx="1841010" cy="91906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7091125" y="4486747"/>
            <a:ext cx="884035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0" name="Bildplatzhalter 8"/>
          <p:cNvSpPr>
            <a:spLocks noGrp="1"/>
          </p:cNvSpPr>
          <p:nvPr userDrawn="1">
            <p:ph type="pic" sz="quarter" idx="28" hasCustomPrompt="1"/>
          </p:nvPr>
        </p:nvSpPr>
        <p:spPr bwMode="gray">
          <a:xfrm>
            <a:off x="5178436" y="4486747"/>
            <a:ext cx="1840689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1" name="Bildplatzhalter 8"/>
          <p:cNvSpPr>
            <a:spLocks noGrp="1"/>
          </p:cNvSpPr>
          <p:nvPr userDrawn="1">
            <p:ph type="pic" sz="quarter" idx="29" hasCustomPrompt="1"/>
          </p:nvPr>
        </p:nvSpPr>
        <p:spPr bwMode="gray">
          <a:xfrm>
            <a:off x="4222403" y="4486747"/>
            <a:ext cx="884034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2" name="Bildplatzhalter 8"/>
          <p:cNvSpPr>
            <a:spLocks noGrp="1"/>
          </p:cNvSpPr>
          <p:nvPr userDrawn="1">
            <p:ph type="pic" sz="quarter" idx="30" hasCustomPrompt="1"/>
          </p:nvPr>
        </p:nvSpPr>
        <p:spPr bwMode="gray">
          <a:xfrm>
            <a:off x="4222403" y="1511767"/>
            <a:ext cx="884034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4" name="Bildplatzhalter 8"/>
          <p:cNvSpPr>
            <a:spLocks noGrp="1"/>
          </p:cNvSpPr>
          <p:nvPr userDrawn="1">
            <p:ph type="pic" sz="quarter" idx="32" hasCustomPrompt="1"/>
          </p:nvPr>
        </p:nvSpPr>
        <p:spPr bwMode="gray">
          <a:xfrm>
            <a:off x="5178436" y="2503829"/>
            <a:ext cx="883566" cy="920528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6676" y="1511768"/>
            <a:ext cx="2797825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10916502" y="1511768"/>
            <a:ext cx="884974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4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grpSp>
        <p:nvGrpSpPr>
          <p:cNvPr id="97" name="Gruppieren 96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00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102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103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4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5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6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01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5729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6086" y="1511767"/>
            <a:ext cx="11405389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6086" y="1511767"/>
            <a:ext cx="11405389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1059" y="1511767"/>
            <a:ext cx="9635443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6086" y="1511300"/>
            <a:ext cx="11405389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6465" y="1511300"/>
            <a:ext cx="772463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288" y="1511299"/>
            <a:ext cx="11406188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6086" y="2431828"/>
            <a:ext cx="11405389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8466" y="1511768"/>
            <a:ext cx="184225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7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2308466" y="2502758"/>
            <a:ext cx="1842421" cy="921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2402" y="2503829"/>
            <a:ext cx="2796723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7" name="Bildplatzhalter 8"/>
          <p:cNvSpPr>
            <a:spLocks noGrp="1"/>
          </p:cNvSpPr>
          <p:nvPr userDrawn="1">
            <p:ph type="pic" sz="quarter" idx="25" hasCustomPrompt="1"/>
          </p:nvPr>
        </p:nvSpPr>
        <p:spPr bwMode="gray">
          <a:xfrm>
            <a:off x="7091126" y="2503829"/>
            <a:ext cx="884036" cy="92052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8" name="Bildplatzhalter 8"/>
          <p:cNvSpPr>
            <a:spLocks noGrp="1"/>
          </p:cNvSpPr>
          <p:nvPr userDrawn="1">
            <p:ph type="pic" sz="quarter" idx="26" hasCustomPrompt="1"/>
          </p:nvPr>
        </p:nvSpPr>
        <p:spPr bwMode="gray">
          <a:xfrm>
            <a:off x="7091124" y="3495678"/>
            <a:ext cx="884036" cy="91906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4151" y="4486747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6677" y="1511768"/>
            <a:ext cx="184242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61876" y="1511768"/>
            <a:ext cx="18396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grpSp>
        <p:nvGrpSpPr>
          <p:cNvPr id="73" name="Gruppieren 72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79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81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82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3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4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6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80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2302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Inhalt oder 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2147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Inhalt oder 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896474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6086" y="1511767"/>
            <a:ext cx="11405389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6086" y="1511767"/>
            <a:ext cx="11405389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1059" y="1511767"/>
            <a:ext cx="9635443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6086" y="1511300"/>
            <a:ext cx="11405389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6465" y="1511300"/>
            <a:ext cx="772463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288" y="1511299"/>
            <a:ext cx="11406188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6086" y="2431828"/>
            <a:ext cx="11405389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4151" y="4486747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6677" y="1511768"/>
            <a:ext cx="184242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61876" y="1511768"/>
            <a:ext cx="18396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grpSp>
        <p:nvGrpSpPr>
          <p:cNvPr id="72" name="Gruppieren 71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73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79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80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1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2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3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77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6343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6086" y="1511767"/>
            <a:ext cx="11405389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6086" y="1511767"/>
            <a:ext cx="11405389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1059" y="1511767"/>
            <a:ext cx="9635443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6086" y="1511300"/>
            <a:ext cx="11405389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6465" y="1511300"/>
            <a:ext cx="772463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288" y="1511299"/>
            <a:ext cx="11406188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6086" y="2431828"/>
            <a:ext cx="11405389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4151" y="3495677"/>
            <a:ext cx="184101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3495677"/>
            <a:ext cx="18396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6677" y="1511768"/>
            <a:ext cx="184242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61876" y="1511768"/>
            <a:ext cx="18396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1" y="1511768"/>
            <a:ext cx="3752659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grpSp>
        <p:nvGrpSpPr>
          <p:cNvPr id="72" name="Gruppieren 71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73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77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79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0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1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2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7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12354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835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3" name="Textplatzhalter 3"/>
          <p:cNvSpPr>
            <a:spLocks noGrp="1" noChangeAspect="1"/>
          </p:cNvSpPr>
          <p:nvPr>
            <p:ph type="body" sz="quarter" idx="67" hasCustomPrompt="1"/>
          </p:nvPr>
        </p:nvSpPr>
        <p:spPr>
          <a:xfrm rot="9427937">
            <a:off x="2801345" y="4585641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4" name="Textplatzhalter 3"/>
          <p:cNvSpPr>
            <a:spLocks noGrp="1" noChangeAspect="1"/>
          </p:cNvSpPr>
          <p:nvPr>
            <p:ph type="body" sz="quarter" idx="56" hasCustomPrompt="1"/>
          </p:nvPr>
        </p:nvSpPr>
        <p:spPr>
          <a:xfrm rot="19732274">
            <a:off x="7736400" y="2229088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5" name="Textplatzhalter 3"/>
          <p:cNvSpPr>
            <a:spLocks noGrp="1" noChangeAspect="1"/>
          </p:cNvSpPr>
          <p:nvPr>
            <p:ph type="body" sz="quarter" idx="57" hasCustomPrompt="1"/>
          </p:nvPr>
        </p:nvSpPr>
        <p:spPr>
          <a:xfrm rot="18468895">
            <a:off x="6290280" y="1023594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6" name="Textplatzhalter 3"/>
          <p:cNvSpPr>
            <a:spLocks noGrp="1" noChangeAspect="1"/>
          </p:cNvSpPr>
          <p:nvPr>
            <p:ph type="body" sz="quarter" idx="58" hasCustomPrompt="1"/>
          </p:nvPr>
        </p:nvSpPr>
        <p:spPr>
          <a:xfrm rot="11041244">
            <a:off x="2433553" y="2044006"/>
            <a:ext cx="2204126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7" name="Textplatzhalter 3"/>
          <p:cNvSpPr>
            <a:spLocks noGrp="1" noChangeAspect="1"/>
          </p:cNvSpPr>
          <p:nvPr>
            <p:ph type="body" sz="quarter" idx="59" hasCustomPrompt="1"/>
          </p:nvPr>
        </p:nvSpPr>
        <p:spPr>
          <a:xfrm rot="10320000">
            <a:off x="985266" y="5929818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9" name="Textplatzhalter 3"/>
          <p:cNvSpPr>
            <a:spLocks noGrp="1" noChangeAspect="1"/>
          </p:cNvSpPr>
          <p:nvPr>
            <p:ph type="body" sz="quarter" idx="61" hasCustomPrompt="1"/>
          </p:nvPr>
        </p:nvSpPr>
        <p:spPr>
          <a:xfrm rot="12197832">
            <a:off x="2021227" y="1163906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50" name="Textplatzhalter 3"/>
          <p:cNvSpPr>
            <a:spLocks noGrp="1" noChangeAspect="1"/>
          </p:cNvSpPr>
          <p:nvPr>
            <p:ph type="body" sz="quarter" idx="62" hasCustomPrompt="1"/>
          </p:nvPr>
        </p:nvSpPr>
        <p:spPr>
          <a:xfrm rot="11425296">
            <a:off x="3307430" y="344799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51" name="Textplatzhalter 3"/>
          <p:cNvSpPr>
            <a:spLocks noGrp="1" noChangeAspect="1"/>
          </p:cNvSpPr>
          <p:nvPr>
            <p:ph type="body" sz="quarter" idx="63" hasCustomPrompt="1"/>
          </p:nvPr>
        </p:nvSpPr>
        <p:spPr>
          <a:xfrm rot="17090839" flipH="1" flipV="1">
            <a:off x="4827733" y="5510568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52" name="Textplatzhalter 3"/>
          <p:cNvSpPr>
            <a:spLocks noGrp="1" noChangeAspect="1"/>
          </p:cNvSpPr>
          <p:nvPr>
            <p:ph type="body" sz="quarter" idx="64" hasCustomPrompt="1"/>
          </p:nvPr>
        </p:nvSpPr>
        <p:spPr>
          <a:xfrm rot="12243241" flipH="1" flipV="1">
            <a:off x="8575274" y="4464855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53" name="Textplatzhalter 3"/>
          <p:cNvSpPr>
            <a:spLocks noGrp="1" noChangeAspect="1"/>
          </p:cNvSpPr>
          <p:nvPr>
            <p:ph type="body" sz="quarter" idx="65" hasCustomPrompt="1"/>
          </p:nvPr>
        </p:nvSpPr>
        <p:spPr>
          <a:xfrm rot="10046435" flipH="1" flipV="1">
            <a:off x="7813592" y="3424709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54" name="Textplatzhalter 3"/>
          <p:cNvSpPr>
            <a:spLocks noGrp="1" noChangeAspect="1"/>
          </p:cNvSpPr>
          <p:nvPr>
            <p:ph type="body" sz="quarter" idx="66" hasCustomPrompt="1"/>
          </p:nvPr>
        </p:nvSpPr>
        <p:spPr>
          <a:xfrm rot="2851924">
            <a:off x="6569910" y="4964630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8" name="Textplatzhalter 3"/>
          <p:cNvSpPr>
            <a:spLocks noGrp="1" noChangeAspect="1"/>
          </p:cNvSpPr>
          <p:nvPr>
            <p:ph type="body" sz="quarter" idx="60" hasCustomPrompt="1"/>
          </p:nvPr>
        </p:nvSpPr>
        <p:spPr>
          <a:xfrm rot="20824625">
            <a:off x="8647912" y="765256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8931" y="366999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6001" y="1786681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6001" y="4626044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6001" y="3206363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01" y="366999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8931" y="6043658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6001" y="6045725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661861" y="1786164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661861" y="4624494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661861" y="3205329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661861" y="366999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661861" y="6043658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9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70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115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1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111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112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4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3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4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5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8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79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0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1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2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3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8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8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49787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4" y="1"/>
            <a:ext cx="1219920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5508000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289" y="1512000"/>
            <a:ext cx="5508000" cy="2949301"/>
          </a:xfrm>
        </p:spPr>
        <p:txBody>
          <a:bodyPr/>
          <a:lstStyle/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7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68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94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9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90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91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5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7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6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7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8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1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82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3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4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5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6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96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97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  <p:grpSp>
        <p:nvGrpSpPr>
          <p:cNvPr id="93" name="Gruppieren 92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98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100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101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2" name="Zuschneiden"/>
              <p:cNvPicPr>
                <a:picLocks noChangeAspect="1" noChangeArrowheads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3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4" name="Einpassen"/>
              <p:cNvPicPr>
                <a:picLocks noChangeAspect="1" noChangeArrowheads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99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1501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4" y="1"/>
            <a:ext cx="1219920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0"/>
            <a:ext cx="6062918" cy="4548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5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66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93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89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90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8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6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5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6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7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0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81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2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3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4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5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9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9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  <p:grpSp>
        <p:nvGrpSpPr>
          <p:cNvPr id="92" name="Gruppieren 91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97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99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100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1" name="Zuschneiden"/>
              <p:cNvPicPr>
                <a:picLocks noChangeAspect="1" noChangeArrowheads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2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3" name="Einpassen"/>
              <p:cNvPicPr>
                <a:picLocks noChangeAspect="1" noChangeArrowheads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98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4427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4" y="1"/>
            <a:ext cx="1219920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6135176" y="0"/>
            <a:ext cx="6063175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6135952" y="4619700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0" y="-1"/>
            <a:ext cx="2995458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067717" y="0"/>
            <a:ext cx="29954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67458" y="1155601"/>
            <a:ext cx="2994942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067458" y="4619700"/>
            <a:ext cx="2994942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1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63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108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5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88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89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5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8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5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6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9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80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1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2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3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4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110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111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  <p:grpSp>
        <p:nvGrpSpPr>
          <p:cNvPr id="91" name="Gruppieren 90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12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114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115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6" name="Zuschneiden"/>
              <p:cNvPicPr>
                <a:picLocks noChangeAspect="1" noChangeArrowheads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7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8" name="Einpassen"/>
              <p:cNvPicPr>
                <a:picLocks noChangeAspect="1" noChangeArrowheads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13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2426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4" y="1"/>
            <a:ext cx="1219920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203151" y="0"/>
            <a:ext cx="2995201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5175" y="577440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2309400"/>
            <a:ext cx="2995717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0"/>
            <a:ext cx="2995717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1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63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108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5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88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89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5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8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5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6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9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80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1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2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3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4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110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111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  <p:grpSp>
        <p:nvGrpSpPr>
          <p:cNvPr id="91" name="Gruppieren 90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12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114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115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6" name="Zuschneiden"/>
              <p:cNvPicPr>
                <a:picLocks noChangeAspect="1" noChangeArrowheads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7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8" name="Einpassen"/>
              <p:cNvPicPr>
                <a:picLocks noChangeAspect="1" noChangeArrowheads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13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9318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4" y="1"/>
            <a:ext cx="1219920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203151" y="0"/>
            <a:ext cx="2995201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5951" y="5774400"/>
            <a:ext cx="2994942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1" y="2309400"/>
            <a:ext cx="2994942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1" y="1155600"/>
            <a:ext cx="299519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1" y="4619700"/>
            <a:ext cx="299519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3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65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109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0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90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91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5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7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6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7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8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1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82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3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4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5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6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111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112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  <p:grpSp>
        <p:nvGrpSpPr>
          <p:cNvPr id="108" name="Gruppieren 107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13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115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116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7" name="Zuschneiden"/>
              <p:cNvPicPr>
                <a:picLocks noChangeAspect="1" noChangeArrowheads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8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9" name="Einpassen"/>
              <p:cNvPicPr>
                <a:picLocks noChangeAspect="1" noChangeArrowheads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7802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835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540000"/>
          </a:xfrm>
        </p:spPr>
        <p:txBody>
          <a:bodyPr/>
          <a:lstStyle>
            <a:lvl1pPr>
              <a:defRPr sz="3000"/>
            </a:lvl1pPr>
          </a:lstStyle>
          <a:p>
            <a:r>
              <a:rPr lang="de-DE" dirty="0" smtClean="0"/>
              <a:t>Optionale Headline einzeilig in CorpoA (Überschriften) 30 pt. </a:t>
            </a:r>
            <a:endParaRPr lang="de-DE" dirty="0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31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32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77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3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73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74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4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70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36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37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41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66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67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68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69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44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45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34255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0799" y="1512000"/>
            <a:ext cx="5580676" cy="4914201"/>
          </a:xfrm>
        </p:spPr>
        <p:txBody>
          <a:bodyPr/>
          <a:lstStyle/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8266654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476" y="15113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476" y="3502801"/>
            <a:ext cx="5579999" cy="2923400"/>
          </a:xfrm>
        </p:spPr>
        <p:txBody>
          <a:bodyPr/>
          <a:lstStyle/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287" y="3502801"/>
            <a:ext cx="5579999" cy="2923400"/>
          </a:xfrm>
        </p:spPr>
        <p:txBody>
          <a:bodyPr/>
          <a:lstStyle/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06897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11405475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6030980"/>
            <a:ext cx="114047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</p:spTree>
    <p:extLst>
      <p:ext uri="{BB962C8B-B14F-4D97-AF65-F5344CB8AC3E}">
        <p14:creationId xmlns:p14="http://schemas.microsoft.com/office/powerpoint/2010/main" val="2649919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860002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image" Target="../media/image12.emf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2730859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5" name="think-cell Folie" r:id="rId33" imgW="270" imgH="270" progId="TCLayout.ActiveDocument.1">
                  <p:embed/>
                </p:oleObj>
              </mc:Choice>
              <mc:Fallback>
                <p:oleObj name="think-cell Foli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43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001" y="6621563"/>
            <a:ext cx="1188000" cy="13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368300"/>
            <a:ext cx="11406187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511300"/>
            <a:ext cx="11406188" cy="49965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8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80080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36" name="Picture 2" descr="G:\Aufträge aktuell\1 Mes - MP-Master\MP Logo\Logo-MP-farbe-4.png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1407" y="133637"/>
            <a:ext cx="1346400" cy="165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SIPCMContentMarking" descr="{&quot;HashCode&quot;:758215280,&quot;Placement&quot;:&quot;Header&quot;,&quot;Top&quot;:0.0,&quot;Left&quot;:0.0,&quot;SlideWidth&quot;:960,&quot;SlideHeight&quot;:540}"/>
          <p:cNvSpPr txBox="1"/>
          <p:nvPr userDrawn="1"/>
        </p:nvSpPr>
        <p:spPr bwMode="gray">
          <a:xfrm>
            <a:off x="0" y="0"/>
            <a:ext cx="663105" cy="25236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smtClean="0">
                <a:solidFill>
                  <a:srgbClr val="000000"/>
                </a:solidFill>
                <a:latin typeface="CorpoS" pitchFamily="2" charset="0"/>
              </a:rPr>
              <a:t>Internal</a:t>
            </a:r>
            <a:endParaRPr lang="de-DE" sz="1000" dirty="0" err="1" smtClean="0">
              <a:solidFill>
                <a:srgbClr val="000000"/>
              </a:solidFill>
              <a:latin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4998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17" r:id="rId2"/>
    <p:sldLayoutId id="2147483718" r:id="rId3"/>
    <p:sldLayoutId id="2147483660" r:id="rId4"/>
    <p:sldLayoutId id="2147483721" r:id="rId5"/>
    <p:sldLayoutId id="2147483703" r:id="rId6"/>
    <p:sldLayoutId id="2147483704" r:id="rId7"/>
    <p:sldLayoutId id="2147483700" r:id="rId8"/>
    <p:sldLayoutId id="2147483679" r:id="rId9"/>
    <p:sldLayoutId id="2147483688" r:id="rId10"/>
    <p:sldLayoutId id="2147483689" r:id="rId11"/>
    <p:sldLayoutId id="2147483692" r:id="rId12"/>
    <p:sldLayoutId id="2147483696" r:id="rId13"/>
    <p:sldLayoutId id="2147483694" r:id="rId14"/>
    <p:sldLayoutId id="2147483680" r:id="rId15"/>
    <p:sldLayoutId id="2147483707" r:id="rId16"/>
    <p:sldLayoutId id="2147483683" r:id="rId17"/>
    <p:sldLayoutId id="2147483684" r:id="rId18"/>
    <p:sldLayoutId id="2147483709" r:id="rId19"/>
    <p:sldLayoutId id="2147483710" r:id="rId20"/>
    <p:sldLayoutId id="2147483711" r:id="rId21"/>
    <p:sldLayoutId id="2147483712" r:id="rId22"/>
    <p:sldLayoutId id="2147483698" r:id="rId23"/>
    <p:sldLayoutId id="2147483729" r:id="rId24"/>
    <p:sldLayoutId id="2147483725" r:id="rId25"/>
    <p:sldLayoutId id="2147483726" r:id="rId26"/>
    <p:sldLayoutId id="2147483727" r:id="rId27"/>
    <p:sldLayoutId id="2147483728" r:id="rId28"/>
    <p:sldLayoutId id="2147483682" r:id="rId29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914271" rtl="0" eaLnBrk="1" latinLnBrk="0" hangingPunct="1">
        <a:spcBef>
          <a:spcPts val="0"/>
        </a:spcBef>
        <a:buFont typeface="+mj-lt"/>
        <a:buNone/>
        <a:defRPr sz="30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952" indent="-34195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1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6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2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8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14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9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8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white">
          <a:xfrm>
            <a:off x="395289" y="368300"/>
            <a:ext cx="11406187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white">
          <a:xfrm>
            <a:off x="395288" y="1511300"/>
            <a:ext cx="11406188" cy="49965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pic>
        <p:nvPicPr>
          <p:cNvPr id="66" name="Wortmarke Mercedes-Benz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1" y="6620400"/>
            <a:ext cx="1188000" cy="136800"/>
          </a:xfrm>
          <a:prstGeom prst="rect">
            <a:avLst/>
          </a:prstGeom>
        </p:spPr>
      </p:pic>
      <p:sp>
        <p:nvSpPr>
          <p:cNvPr id="26" name="Fußzeilenplatzhalter 4"/>
          <p:cNvSpPr>
            <a:spLocks noGrp="1"/>
          </p:cNvSpPr>
          <p:nvPr>
            <p:ph type="ftr" sz="quarter" idx="3"/>
          </p:nvPr>
        </p:nvSpPr>
        <p:spPr bwMode="white">
          <a:xfrm>
            <a:off x="3578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4"/>
          </p:nvPr>
        </p:nvSpPr>
        <p:spPr bwMode="white">
          <a:xfrm>
            <a:off x="1180080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MSIPCMContentMarking" descr="{&quot;HashCode&quot;:758215280,&quot;Placement&quot;:&quot;Header&quot;,&quot;Top&quot;:0.0,&quot;Left&quot;:0.0,&quot;SlideWidth&quot;:960,&quot;SlideHeight&quot;:540}"/>
          <p:cNvSpPr txBox="1"/>
          <p:nvPr userDrawn="1"/>
        </p:nvSpPr>
        <p:spPr bwMode="gray">
          <a:xfrm>
            <a:off x="0" y="0"/>
            <a:ext cx="663105" cy="25236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smtClean="0">
                <a:solidFill>
                  <a:srgbClr val="000000"/>
                </a:solidFill>
                <a:latin typeface="CorpoS" pitchFamily="2" charset="0"/>
              </a:rPr>
              <a:t>Internal</a:t>
            </a:r>
            <a:endParaRPr lang="de-DE" sz="1000" dirty="0" err="1" smtClean="0">
              <a:solidFill>
                <a:srgbClr val="000000"/>
              </a:solidFill>
              <a:latin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27568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719" r:id="rId2"/>
    <p:sldLayoutId id="2147483720" r:id="rId3"/>
    <p:sldLayoutId id="2147483664" r:id="rId4"/>
    <p:sldLayoutId id="2147483722" r:id="rId5"/>
    <p:sldLayoutId id="2147483705" r:id="rId6"/>
    <p:sldLayoutId id="2147483706" r:id="rId7"/>
    <p:sldLayoutId id="2147483701" r:id="rId8"/>
    <p:sldLayoutId id="2147483702" r:id="rId9"/>
    <p:sldLayoutId id="2147483690" r:id="rId10"/>
    <p:sldLayoutId id="2147483691" r:id="rId11"/>
    <p:sldLayoutId id="2147483693" r:id="rId12"/>
    <p:sldLayoutId id="2147483697" r:id="rId13"/>
    <p:sldLayoutId id="2147483695" r:id="rId14"/>
    <p:sldLayoutId id="2147483685" r:id="rId15"/>
    <p:sldLayoutId id="2147483708" r:id="rId16"/>
    <p:sldLayoutId id="2147483686" r:id="rId17"/>
    <p:sldLayoutId id="2147483687" r:id="rId18"/>
    <p:sldLayoutId id="2147483713" r:id="rId19"/>
    <p:sldLayoutId id="2147483714" r:id="rId20"/>
    <p:sldLayoutId id="2147483715" r:id="rId21"/>
    <p:sldLayoutId id="2147483716" r:id="rId22"/>
    <p:sldLayoutId id="2147483730" r:id="rId23"/>
    <p:sldLayoutId id="2147483723" r:id="rId24"/>
    <p:sldLayoutId id="2147483674" r:id="rId25"/>
    <p:sldLayoutId id="2147483675" r:id="rId26"/>
    <p:sldLayoutId id="2147483676" r:id="rId27"/>
    <p:sldLayoutId id="2147483677" r:id="rId28"/>
    <p:sldLayoutId id="2147483724" r:id="rId29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914271" rtl="0" eaLnBrk="1" latinLnBrk="0" hangingPunct="1">
        <a:spcBef>
          <a:spcPts val="0"/>
        </a:spcBef>
        <a:buFont typeface="+mj-lt"/>
        <a:buNone/>
        <a:defRPr sz="30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952" indent="-34195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1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6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2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8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14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9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8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6410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554" name="Picture 2" descr="C:\Users\mrodriq\Desktop\15C157_01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1" t="22419" b="42762"/>
          <a:stretch/>
        </p:blipFill>
        <p:spPr bwMode="auto">
          <a:xfrm>
            <a:off x="0" y="333375"/>
            <a:ext cx="12198352" cy="3385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el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onfirmation of  Quality-Requirements</a:t>
            </a:r>
            <a:br>
              <a:rPr lang="en-US" dirty="0" smtClean="0"/>
            </a:br>
            <a:r>
              <a:rPr lang="en-US" dirty="0" smtClean="0"/>
              <a:t>Tail lamp / Headlamp</a:t>
            </a:r>
            <a:endParaRPr lang="en-US" dirty="0"/>
          </a:p>
        </p:txBody>
      </p:sp>
      <p:sp>
        <p:nvSpPr>
          <p:cNvPr id="8" name="Untertitel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Name, Vorname, </a:t>
            </a:r>
            <a:r>
              <a:rPr lang="de-DE" dirty="0"/>
              <a:t>MP/XR4</a:t>
            </a:r>
          </a:p>
          <a:p>
            <a:r>
              <a:rPr lang="de-DE" dirty="0"/>
              <a:t>Böblingen, </a:t>
            </a:r>
            <a:r>
              <a:rPr lang="de-DE" dirty="0" smtClean="0"/>
              <a:t>Datum</a:t>
            </a:r>
            <a:endParaRPr lang="de-DE" dirty="0"/>
          </a:p>
        </p:txBody>
      </p:sp>
      <p:pic>
        <p:nvPicPr>
          <p:cNvPr id="11" name="Bildplatzhalter 13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808" b="7600"/>
          <a:stretch/>
        </p:blipFill>
        <p:spPr>
          <a:xfrm>
            <a:off x="0" y="311762"/>
            <a:ext cx="12198350" cy="3407039"/>
          </a:xfrm>
          <a:scene3d>
            <a:camera prst="orthographicFront"/>
            <a:lightRig rig="threePt" dir="t"/>
          </a:scene3d>
          <a:sp3d prstMaterial="flat"/>
        </p:spPr>
      </p:pic>
    </p:spTree>
    <p:extLst>
      <p:ext uri="{BB962C8B-B14F-4D97-AF65-F5344CB8AC3E}">
        <p14:creationId xmlns:p14="http://schemas.microsoft.com/office/powerpoint/2010/main" val="2285413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27743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3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2696915"/>
              </p:ext>
            </p:extLst>
          </p:nvPr>
        </p:nvGraphicFramePr>
        <p:xfrm>
          <a:off x="395999" y="775577"/>
          <a:ext cx="11341124" cy="51858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226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96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326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61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 gridSpan="4"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Summary of the most important quality requirements</a:t>
                      </a:r>
                      <a:endParaRPr lang="en-US" sz="1600" noProof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sz="1600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13151">
                <a:tc>
                  <a:txBody>
                    <a:bodyPr/>
                    <a:lstStyle/>
                    <a:p>
                      <a:r>
                        <a:rPr lang="en-US" sz="1300" kern="0" noProof="0" dirty="0" smtClean="0">
                          <a:cs typeface="Arial" charset="0"/>
                          <a:sym typeface="Wingdings" panose="05000000000000000000" pitchFamily="2" charset="2"/>
                        </a:rPr>
                        <a:t>Process</a:t>
                      </a:r>
                      <a:r>
                        <a:rPr lang="en-US" sz="1300" kern="0" baseline="0" noProof="0" dirty="0" smtClean="0">
                          <a:cs typeface="Arial" charset="0"/>
                          <a:sym typeface="Wingdings" panose="05000000000000000000" pitchFamily="2" charset="2"/>
                        </a:rPr>
                        <a:t> specification sheet </a:t>
                      </a:r>
                      <a:r>
                        <a:rPr lang="en-US" sz="1300" b="1" kern="0" baseline="0" noProof="0" dirty="0" smtClean="0">
                          <a:cs typeface="Arial" charset="0"/>
                          <a:sym typeface="Wingdings" panose="05000000000000000000" pitchFamily="2" charset="2"/>
                        </a:rPr>
                        <a:t>(version </a:t>
                      </a:r>
                      <a:r>
                        <a:rPr lang="en-US" sz="1300" b="1" kern="0" baseline="0" noProof="0" dirty="0" smtClean="0">
                          <a:cs typeface="Arial" charset="0"/>
                          <a:sym typeface="Wingdings" panose="05000000000000000000" pitchFamily="2" charset="2"/>
                        </a:rPr>
                        <a:t>V1.7, 01.03.2022</a:t>
                      </a:r>
                      <a:r>
                        <a:rPr lang="en-US" sz="1300" b="1" kern="0" baseline="0" noProof="0" dirty="0" smtClean="0">
                          <a:cs typeface="Arial" charset="0"/>
                          <a:sym typeface="Wingdings" panose="05000000000000000000" pitchFamily="2" charset="2"/>
                        </a:rPr>
                        <a:t>) </a:t>
                      </a:r>
                      <a:r>
                        <a:rPr lang="en-US" sz="1300" kern="0" baseline="0" noProof="0" dirty="0" smtClean="0">
                          <a:cs typeface="Arial" charset="0"/>
                          <a:sym typeface="Wingdings" panose="05000000000000000000" pitchFamily="2" charset="2"/>
                        </a:rPr>
                        <a:t>fully </a:t>
                      </a:r>
                      <a:r>
                        <a:rPr lang="en-US" sz="1300" kern="0" baseline="0" noProof="0" dirty="0" smtClean="0">
                          <a:cs typeface="Arial" charset="0"/>
                          <a:sym typeface="Wingdings" panose="05000000000000000000" pitchFamily="2" charset="2"/>
                        </a:rPr>
                        <a:t>accepted (incl. photometrical tests)?</a:t>
                      </a:r>
                      <a:r>
                        <a:rPr lang="en-US" sz="1300" kern="0" noProof="0" dirty="0" smtClean="0">
                          <a:cs typeface="Arial" charset="0"/>
                          <a:sym typeface="Wingdings" panose="05000000000000000000" pitchFamily="2" charset="2"/>
                        </a:rPr>
                        <a:t/>
                      </a:r>
                      <a:br>
                        <a:rPr lang="en-US" sz="1300" kern="0" noProof="0" dirty="0" smtClean="0">
                          <a:cs typeface="Arial" charset="0"/>
                          <a:sym typeface="Wingdings" panose="05000000000000000000" pitchFamily="2" charset="2"/>
                        </a:rPr>
                      </a:br>
                      <a:r>
                        <a:rPr lang="en-US" sz="1300" kern="0" noProof="0" dirty="0" smtClean="0">
                          <a:cs typeface="Arial" charset="0"/>
                          <a:sym typeface="Wingdings" panose="05000000000000000000" pitchFamily="2" charset="2"/>
                        </a:rPr>
                        <a:t>If</a:t>
                      </a:r>
                      <a:r>
                        <a:rPr lang="en-US" sz="1300" kern="0" baseline="0" noProof="0" dirty="0" smtClean="0">
                          <a:cs typeface="Arial" charset="0"/>
                          <a:sym typeface="Wingdings" panose="05000000000000000000" pitchFamily="2" charset="2"/>
                        </a:rPr>
                        <a:t> not</a:t>
                      </a:r>
                      <a:r>
                        <a:rPr lang="en-US" sz="1300" kern="0" noProof="0" dirty="0" smtClean="0">
                          <a:cs typeface="Arial" charset="0"/>
                          <a:sym typeface="Wingdings" panose="05000000000000000000" pitchFamily="2" charset="2"/>
                        </a:rPr>
                        <a:t>: rejected points discussed and released by quality MP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300" noProof="0" dirty="0" smtClean="0"/>
                        <a:t>Yes/No</a:t>
                      </a:r>
                    </a:p>
                    <a:p>
                      <a:endParaRPr lang="en-US" sz="1300" noProof="0" dirty="0" smtClean="0"/>
                    </a:p>
                    <a:p>
                      <a:pPr marL="0" marR="0" indent="0" algn="l" defTabSz="914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noProof="0" dirty="0" smtClean="0"/>
                        <a:t>Yes/No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kern="0" noProof="0" dirty="0" smtClean="0">
                          <a:solidFill>
                            <a:srgbClr val="000000"/>
                          </a:solidFill>
                          <a:cs typeface="Arial" charset="0"/>
                        </a:rPr>
                        <a:t>Are the tolerance specifications accepted completely?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noProof="0" dirty="0" smtClean="0"/>
                        <a:t>Yes/N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14926">
                <a:tc>
                  <a:txBody>
                    <a:bodyPr/>
                    <a:lstStyle/>
                    <a:p>
                      <a:r>
                        <a:rPr lang="en-US" sz="1300" kern="0" noProof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For information: </a:t>
                      </a:r>
                      <a:r>
                        <a:rPr lang="en-US" sz="1300" kern="0" baseline="0" noProof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main changes in PLH to previous versio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300" kern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charset="0"/>
                          <a:sym typeface="Wingdings" panose="05000000000000000000" pitchFamily="2" charset="2"/>
                        </a:rPr>
                        <a:t>photometrical measurements and documentatio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300" kern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charset="0"/>
                          <a:sym typeface="Wingdings" panose="05000000000000000000" pitchFamily="2" charset="2"/>
                        </a:rPr>
                        <a:t>Requirements for connectors (only for headlamps)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300" kern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charset="0"/>
                          <a:sym typeface="Wingdings" panose="05000000000000000000" pitchFamily="2" charset="2"/>
                        </a:rPr>
                        <a:t>Changed requirements for geomet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300" noProof="0" dirty="0" smtClean="0"/>
                    </a:p>
                  </a:txBody>
                  <a:tcPr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kern="0" baseline="0" noProof="0" dirty="0" smtClean="0">
                          <a:cs typeface="Arial" charset="0"/>
                        </a:rPr>
                        <a:t>Are there s</a:t>
                      </a:r>
                      <a:r>
                        <a:rPr lang="en-US" sz="1300" kern="0" noProof="0" dirty="0" smtClean="0">
                          <a:cs typeface="Arial" charset="0"/>
                        </a:rPr>
                        <a:t>pecial processes planned to fulfill</a:t>
                      </a:r>
                      <a:r>
                        <a:rPr lang="en-US" sz="1300" kern="0" baseline="0" noProof="0" dirty="0" smtClean="0">
                          <a:cs typeface="Arial" charset="0"/>
                        </a:rPr>
                        <a:t> the required tolerances</a:t>
                      </a:r>
                      <a:r>
                        <a:rPr lang="en-US" sz="1300" kern="0" noProof="0" dirty="0" smtClean="0">
                          <a:cs typeface="Arial" charset="0"/>
                        </a:rPr>
                        <a:t>? Which? (milling/drilling, laser welding, laser cutting, Inline measurement</a:t>
                      </a:r>
                      <a:r>
                        <a:rPr lang="en-US" sz="1300" kern="0" baseline="0" noProof="0" dirty="0" smtClean="0">
                          <a:cs typeface="Arial" charset="0"/>
                        </a:rPr>
                        <a:t> of lens, …)</a:t>
                      </a:r>
                      <a:endParaRPr lang="en-US" sz="1300" kern="0" noProof="0" dirty="0" smtClean="0">
                        <a:cs typeface="Arial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noProof="0" dirty="0" smtClean="0"/>
                        <a:t>Yes/N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42424">
                <a:tc>
                  <a:txBody>
                    <a:bodyPr/>
                    <a:lstStyle/>
                    <a:p>
                      <a:r>
                        <a:rPr lang="en-US" sz="1300" kern="0" noProof="0" dirty="0" smtClean="0">
                          <a:cs typeface="Arial" charset="0"/>
                          <a:sym typeface="Wingdings" panose="05000000000000000000" pitchFamily="2" charset="2"/>
                        </a:rPr>
                        <a:t>Time plan communicated?</a:t>
                      </a:r>
                    </a:p>
                    <a:p>
                      <a:r>
                        <a:rPr lang="en-US" sz="1300" kern="0" noProof="0" dirty="0" smtClean="0">
                          <a:cs typeface="Arial" charset="0"/>
                          <a:sym typeface="Wingdings" panose="05000000000000000000" pitchFamily="2" charset="2"/>
                        </a:rPr>
                        <a:t>PPFB date and ESWFT date confirmed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300" noProof="0" dirty="0" smtClean="0"/>
                        <a:t>Yes/No</a:t>
                      </a:r>
                    </a:p>
                    <a:p>
                      <a:pPr marL="0" marR="0" indent="0" algn="l" defTabSz="914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noProof="0" dirty="0" smtClean="0"/>
                        <a:t>Yes/No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kern="0" noProof="0" dirty="0" smtClean="0">
                          <a:cs typeface="Arial" charset="0"/>
                          <a:sym typeface="Wingdings" panose="05000000000000000000" pitchFamily="2" charset="2"/>
                        </a:rPr>
                        <a:t>Measurement fixture (3D) planned?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noProof="0" dirty="0" smtClean="0"/>
                        <a:t>Yes/N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95350">
                <a:tc>
                  <a:txBody>
                    <a:bodyPr/>
                    <a:lstStyle/>
                    <a:p>
                      <a:r>
                        <a:rPr lang="en-US" sz="1300" kern="0" noProof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- Which</a:t>
                      </a:r>
                      <a:r>
                        <a:rPr lang="en-US" sz="1300" kern="0" baseline="0" noProof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 p</a:t>
                      </a:r>
                      <a:r>
                        <a:rPr lang="en-US" sz="1300" kern="0" noProof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roduction location is planned? </a:t>
                      </a:r>
                      <a:r>
                        <a:rPr lang="en-US" sz="1300" kern="0" baseline="0" noProof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 ____________________</a:t>
                      </a:r>
                    </a:p>
                    <a:p>
                      <a:r>
                        <a:rPr lang="en-US" sz="1300" kern="0" baseline="0" noProof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- Is the production plant released by DAI and CCC-certificated? Is  </a:t>
                      </a:r>
                      <a:br>
                        <a:rPr lang="en-US" sz="1300" kern="0" baseline="0" noProof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</a:br>
                      <a:r>
                        <a:rPr lang="en-US" sz="1300" kern="0" baseline="0" noProof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  the location successfully CSR-audited (Corporate Social </a:t>
                      </a:r>
                      <a:br>
                        <a:rPr lang="en-US" sz="1300" kern="0" baseline="0" noProof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</a:br>
                      <a:r>
                        <a:rPr lang="en-US" sz="1300" kern="0" baseline="0" noProof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  Responsibility)</a:t>
                      </a:r>
                    </a:p>
                    <a:p>
                      <a:r>
                        <a:rPr lang="en-US" sz="1300" kern="0" baseline="0" noProof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- Number of launches in production plant in the year of SOP?</a:t>
                      </a:r>
                    </a:p>
                    <a:p>
                      <a:r>
                        <a:rPr lang="en-US" sz="1300" kern="0" baseline="0" noProof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- shared assembly line (other OEM or DAI project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300" noProof="0" dirty="0" smtClean="0"/>
                        <a:t/>
                      </a:r>
                      <a:br>
                        <a:rPr lang="en-US" sz="1300" noProof="0" dirty="0" smtClean="0"/>
                      </a:br>
                      <a:r>
                        <a:rPr lang="en-US" sz="1300" noProof="0" dirty="0" smtClean="0"/>
                        <a:t>Yes/No</a:t>
                      </a:r>
                    </a:p>
                    <a:p>
                      <a:pPr marL="0" marR="0" indent="0" algn="l" defTabSz="914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noProof="0" dirty="0" smtClean="0"/>
                        <a:t>Yes/No</a:t>
                      </a:r>
                    </a:p>
                    <a:p>
                      <a:pPr marL="0" marR="0" indent="0" algn="l" defTabSz="914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noProof="0" dirty="0" smtClean="0"/>
                    </a:p>
                    <a:p>
                      <a:pPr marL="0" marR="0" indent="0" algn="l" defTabSz="914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noProof="0" dirty="0" smtClean="0"/>
                        <a:t>Quantity:</a:t>
                      </a:r>
                    </a:p>
                    <a:p>
                      <a:pPr marL="0" marR="0" lvl="0" indent="0" algn="l" defTabSz="914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noProof="0" dirty="0" smtClean="0"/>
                        <a:t>Yes/No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kern="0" noProof="0" dirty="0" smtClean="0">
                          <a:cs typeface="Arial" charset="0"/>
                        </a:rPr>
                        <a:t>Is a Inline-measurement equipment</a:t>
                      </a:r>
                      <a:r>
                        <a:rPr lang="en-US" sz="1300" kern="0" baseline="0" noProof="0" dirty="0" smtClean="0">
                          <a:cs typeface="Arial" charset="0"/>
                        </a:rPr>
                        <a:t> planned?</a:t>
                      </a:r>
                      <a:endParaRPr lang="en-US" sz="1300" kern="0" noProof="0" dirty="0" smtClean="0">
                        <a:cs typeface="Arial" charset="0"/>
                      </a:endParaRPr>
                    </a:p>
                    <a:p>
                      <a:r>
                        <a:rPr lang="en-US" sz="1300" kern="0" noProof="0" dirty="0" smtClean="0">
                          <a:solidFill>
                            <a:schemeClr val="tx1"/>
                          </a:solidFill>
                          <a:cs typeface="Arial" charset="0"/>
                        </a:rPr>
                        <a:t>Number of Inline measurement points confirmed?</a:t>
                      </a:r>
                      <a:br>
                        <a:rPr lang="en-US" sz="1300" kern="0" noProof="0" dirty="0" smtClean="0">
                          <a:solidFill>
                            <a:schemeClr val="tx1"/>
                          </a:solidFill>
                          <a:cs typeface="Arial" charset="0"/>
                        </a:rPr>
                      </a:br>
                      <a:r>
                        <a:rPr lang="en-US" sz="1300" kern="0" noProof="0" dirty="0" smtClean="0">
                          <a:solidFill>
                            <a:schemeClr val="tx1"/>
                          </a:solidFill>
                          <a:cs typeface="Arial" charset="0"/>
                        </a:rPr>
                        <a:t>Lamps: number of surface</a:t>
                      </a:r>
                      <a:r>
                        <a:rPr lang="en-US" sz="1300" kern="0" baseline="0" noProof="0" dirty="0" smtClean="0">
                          <a:solidFill>
                            <a:schemeClr val="tx1"/>
                          </a:solidFill>
                          <a:cs typeface="Arial" charset="0"/>
                        </a:rPr>
                        <a:t>/</a:t>
                      </a:r>
                      <a:r>
                        <a:rPr lang="en-US" sz="1300" kern="0" noProof="0" dirty="0" smtClean="0">
                          <a:solidFill>
                            <a:schemeClr val="tx1"/>
                          </a:solidFill>
                          <a:cs typeface="Arial" charset="0"/>
                        </a:rPr>
                        <a:t>gab points is 8/8</a:t>
                      </a:r>
                    </a:p>
                    <a:p>
                      <a:r>
                        <a:rPr lang="en-US" sz="1300" kern="0" noProof="0" dirty="0" err="1" smtClean="0">
                          <a:solidFill>
                            <a:schemeClr val="tx1"/>
                          </a:solidFill>
                          <a:cs typeface="Arial" charset="0"/>
                        </a:rPr>
                        <a:t>Lightband</a:t>
                      </a:r>
                      <a:r>
                        <a:rPr lang="en-US" sz="1300" kern="0" noProof="0" dirty="0" smtClean="0">
                          <a:solidFill>
                            <a:schemeClr val="tx1"/>
                          </a:solidFill>
                          <a:cs typeface="Arial" charset="0"/>
                        </a:rPr>
                        <a:t>: number of surface/gap points is 12/12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noProof="0" dirty="0" smtClean="0"/>
                        <a:t>Yes/No</a:t>
                      </a:r>
                    </a:p>
                    <a:p>
                      <a:pPr marL="0" marR="0" indent="0" algn="l" defTabSz="914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noProof="0" dirty="0" smtClean="0"/>
                        <a:t>Yes/No</a:t>
                      </a:r>
                    </a:p>
                    <a:p>
                      <a:pPr marL="0" marR="0" indent="0" algn="l" defTabSz="914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noProof="0" dirty="0" smtClean="0"/>
                    </a:p>
                    <a:p>
                      <a:pPr marL="0" marR="0" indent="0" algn="l" defTabSz="914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noProof="0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95350">
                <a:tc>
                  <a:txBody>
                    <a:bodyPr/>
                    <a:lstStyle/>
                    <a:p>
                      <a:r>
                        <a:rPr lang="en-US" sz="1300" kern="0" noProof="0" dirty="0" smtClean="0">
                          <a:cs typeface="Arial" charset="0"/>
                        </a:rPr>
                        <a:t>Assembly layout presented?</a:t>
                      </a:r>
                    </a:p>
                    <a:p>
                      <a:r>
                        <a:rPr lang="en-US" sz="1300" kern="0" noProof="0" dirty="0" smtClean="0">
                          <a:cs typeface="Arial" charset="0"/>
                        </a:rPr>
                        <a:t>Tail</a:t>
                      </a:r>
                      <a:r>
                        <a:rPr lang="en-US" sz="1300" kern="0" baseline="0" noProof="0" dirty="0" smtClean="0">
                          <a:cs typeface="Arial" charset="0"/>
                        </a:rPr>
                        <a:t> lamp: tempering before Inline?</a:t>
                      </a:r>
                      <a:endParaRPr lang="en-US" sz="1300" kern="0" noProof="0" dirty="0" smtClean="0">
                        <a:cs typeface="Arial" charset="0"/>
                      </a:endParaRPr>
                    </a:p>
                    <a:p>
                      <a:r>
                        <a:rPr lang="en-US" sz="1300" noProof="0" dirty="0" smtClean="0"/>
                        <a:t>Headlamp: light adjusting after hollow-screw adjustment?</a:t>
                      </a:r>
                      <a:endParaRPr lang="en-US" sz="13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300" noProof="0" dirty="0" smtClean="0"/>
                        <a:t>Yes/No</a:t>
                      </a:r>
                    </a:p>
                    <a:p>
                      <a:pPr marL="0" marR="0" indent="0" algn="l" defTabSz="914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noProof="0" dirty="0" smtClean="0"/>
                        <a:t>Yes/No</a:t>
                      </a:r>
                    </a:p>
                    <a:p>
                      <a:pPr marL="0" marR="0" indent="0" algn="l" defTabSz="914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noProof="0" dirty="0" smtClean="0"/>
                        <a:t>Yes/No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kern="0" noProof="0" dirty="0" smtClean="0">
                          <a:cs typeface="Arial" charset="0"/>
                          <a:sym typeface="Wingdings" panose="05000000000000000000" pitchFamily="2" charset="2"/>
                        </a:rPr>
                        <a:t>Surface specification norm MBN 10503 accepted?</a:t>
                      </a:r>
                    </a:p>
                    <a:p>
                      <a:endParaRPr lang="en-US" sz="1300" kern="0" noProof="0" dirty="0" smtClean="0">
                        <a:solidFill>
                          <a:schemeClr val="tx1"/>
                        </a:solidFill>
                        <a:cs typeface="Arial" charset="0"/>
                        <a:sym typeface="Wingdings" panose="05000000000000000000" pitchFamily="2" charset="2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noProof="0" dirty="0" smtClean="0"/>
                        <a:t>Yes/No</a:t>
                      </a:r>
                    </a:p>
                    <a:p>
                      <a:endParaRPr lang="en-US" sz="1300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95999" y="204901"/>
            <a:ext cx="8795625" cy="479534"/>
          </a:xfrm>
        </p:spPr>
        <p:txBody>
          <a:bodyPr/>
          <a:lstStyle/>
          <a:p>
            <a:r>
              <a:rPr lang="en-US" dirty="0" smtClean="0">
                <a:sym typeface="Wingdings" panose="05000000000000000000" pitchFamily="2" charset="2"/>
              </a:rPr>
              <a:t>Tail lamp / Headlamp BR        , Supplier</a:t>
            </a:r>
            <a:endParaRPr lang="en-US" altLang="de-DE" dirty="0" smtClean="0"/>
          </a:p>
        </p:txBody>
      </p:sp>
      <p:cxnSp>
        <p:nvCxnSpPr>
          <p:cNvPr id="7" name="Gerade Verbindung 6"/>
          <p:cNvCxnSpPr/>
          <p:nvPr/>
        </p:nvCxnSpPr>
        <p:spPr bwMode="gray">
          <a:xfrm>
            <a:off x="3333750" y="6276975"/>
            <a:ext cx="1038225" cy="0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 bwMode="gray">
          <a:xfrm>
            <a:off x="3162300" y="6296025"/>
            <a:ext cx="790575" cy="2381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1400" dirty="0" smtClean="0">
                <a:solidFill>
                  <a:schemeClr val="tx1"/>
                </a:solidFill>
              </a:rPr>
              <a:t>Date</a:t>
            </a:r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4876800" y="6276975"/>
            <a:ext cx="3771900" cy="0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 bwMode="gray">
          <a:xfrm>
            <a:off x="4781550" y="6291262"/>
            <a:ext cx="3905250" cy="2381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en-US" sz="1400" dirty="0" smtClean="0"/>
              <a:t>Signature Supplier (Responsible for production)</a:t>
            </a:r>
            <a:endParaRPr lang="en-US" sz="1400" dirty="0" smtClean="0">
              <a:solidFill>
                <a:schemeClr val="tx1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>
            <a:off x="6657975" y="619125"/>
            <a:ext cx="2314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 bwMode="gray">
          <a:xfrm>
            <a:off x="4343400" y="619125"/>
            <a:ext cx="581025" cy="0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/>
          <p:cNvSpPr txBox="1"/>
          <p:nvPr/>
        </p:nvSpPr>
        <p:spPr bwMode="gray">
          <a:xfrm>
            <a:off x="9381745" y="6208775"/>
            <a:ext cx="2410206" cy="3840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800" dirty="0"/>
              <a:t>NOTE: This translation is for information purposes only.</a:t>
            </a:r>
            <a:endParaRPr lang="de-DE" sz="800" dirty="0"/>
          </a:p>
          <a:p>
            <a:r>
              <a:rPr lang="en-US" sz="800" dirty="0"/>
              <a:t>The German version shall prevail above all others</a:t>
            </a:r>
            <a:r>
              <a:rPr lang="en-US" sz="800" dirty="0" smtClean="0"/>
              <a:t>.</a:t>
            </a:r>
          </a:p>
          <a:p>
            <a:r>
              <a:rPr lang="en-US" sz="800" dirty="0" smtClean="0"/>
              <a:t>01.03.2022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472482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5_MB_PC_presentation_DE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PPT Master // Mercedes-Benz // 16x9 // schwarz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 alte Schriften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Larissa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Larissa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AIReviewStatus xmlns="f55eec03-8512-4d00-a8c9-cd21e46419f5">Draft</DAIReviewStatus>
    <DAIOrigin xmlns="f55eec03-8512-4d00-a8c9-cd21e46419f5">Daimler</DAIOrigin>
    <Category xmlns="f55eec03-8512-4d00-a8c9-cd21e46419f5">Category 1</Category>
    <Language xmlns="f55eec03-8512-4d00-a8c9-cd21e46419f5">Deutsch</Language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Standard Document" ma:contentTypeID="0x0101003D18CFE4CE879945945E15174BB87C55010030243FED91583A4FA753B6499430CBBF" ma:contentTypeVersion="15" ma:contentTypeDescription="Create a new document." ma:contentTypeScope="" ma:versionID="51e4fd09d597972d783bc9aa0cc6c071">
  <xsd:schema xmlns:xsd="http://www.w3.org/2001/XMLSchema" xmlns:xs="http://www.w3.org/2001/XMLSchema" xmlns:p="http://schemas.microsoft.com/office/2006/metadata/properties" xmlns:ns2="f55eec03-8512-4d00-a8c9-cd21e46419f5" targetNamespace="http://schemas.microsoft.com/office/2006/metadata/properties" ma:root="true" ma:fieldsID="edb24a76a94920299811a9edce0bc2cf" ns2:_="">
    <xsd:import namespace="f55eec03-8512-4d00-a8c9-cd21e46419f5"/>
    <xsd:element name="properties">
      <xsd:complexType>
        <xsd:sequence>
          <xsd:element name="documentManagement">
            <xsd:complexType>
              <xsd:all>
                <xsd:element ref="ns2:DAIReviewStatus" minOccurs="0"/>
                <xsd:element ref="ns2:DAIOrigin" minOccurs="0"/>
                <xsd:element ref="ns2:Category" minOccurs="0"/>
                <xsd:element ref="ns2:Languag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5eec03-8512-4d00-a8c9-cd21e46419f5" elementFormDefault="qualified">
    <xsd:import namespace="http://schemas.microsoft.com/office/2006/documentManagement/types"/>
    <xsd:import namespace="http://schemas.microsoft.com/office/infopath/2007/PartnerControls"/>
    <xsd:element name="DAIReviewStatus" ma:index="8" nillable="true" ma:displayName="Review Status" ma:default="Draft" ma:internalName="DAIReviewStatus">
      <xsd:simpleType>
        <xsd:restriction base="dms:Choice">
          <xsd:enumeration value="Draft"/>
          <xsd:enumeration value="Reviewed"/>
          <xsd:enumeration value="Final"/>
          <xsd:enumeration value="Expired"/>
        </xsd:restriction>
      </xsd:simpleType>
    </xsd:element>
    <xsd:element name="DAIOrigin" ma:index="10" nillable="true" ma:displayName="Origin" ma:default="Daimler" ma:internalName="DAIOrigin">
      <xsd:simpleType>
        <xsd:restriction base="dms:Choice">
          <xsd:enumeration value="Daimler"/>
          <xsd:enumeration value="External"/>
        </xsd:restriction>
      </xsd:simpleType>
    </xsd:element>
    <xsd:element name="Category" ma:index="11" nillable="true" ma:displayName="Category" ma:default="Category 1" ma:internalName="Category">
      <xsd:simpleType>
        <xsd:restriction base="dms:Choice">
          <xsd:enumeration value="Category 1"/>
          <xsd:enumeration value="Category 2"/>
          <xsd:enumeration value="Category 3"/>
        </xsd:restriction>
      </xsd:simpleType>
    </xsd:element>
    <xsd:element name="Language" ma:index="12" nillable="true" ma:displayName="Language" ma:default="Deutsch" ma:format="Dropdown" ma:internalName="Language">
      <xsd:simpleType>
        <xsd:restriction base="dms:Choice">
          <xsd:enumeration value="Deutsch"/>
          <xsd:enumeration value="Englisch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 ma:index="9" ma:displayName="Comments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0EAF99D-9FB0-4C07-9D52-4ADD9F035A48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f55eec03-8512-4d00-a8c9-cd21e46419f5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8D86363-F18D-4704-9519-006A9BA56CD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139C350-2CF9-4F2D-BD5B-FC432DF8DB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55eec03-8512-4d00-a8c9-cd21e46419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5_MB_PC_presentation_DE_16_9</Template>
  <TotalTime>0</TotalTime>
  <Words>299</Words>
  <Application>Microsoft Office PowerPoint</Application>
  <PresentationFormat>Benutzerdefiniert</PresentationFormat>
  <Paragraphs>50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11" baseType="lpstr">
      <vt:lpstr>Arial</vt:lpstr>
      <vt:lpstr>CorpoA</vt:lpstr>
      <vt:lpstr>CorpoS</vt:lpstr>
      <vt:lpstr>Symbol</vt:lpstr>
      <vt:lpstr>Webdings</vt:lpstr>
      <vt:lpstr>Wingdings</vt:lpstr>
      <vt:lpstr>2015_MB_PC_presentation_DE_16_9</vt:lpstr>
      <vt:lpstr>PPT Master // Mercedes-Benz // 16x9 // schwarz</vt:lpstr>
      <vt:lpstr>think-cell Folie</vt:lpstr>
      <vt:lpstr>Confirmation of  Quality-Requirements Tail lamp / Headlamp</vt:lpstr>
      <vt:lpstr>Tail lamp / Headlamp BR        , Supplier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titel 30 pt über eine Zeile.</dc:title>
  <dc:creator>Rodriguez Romero, Martina (050-Extern)</dc:creator>
  <cp:lastModifiedBy>Habermaier, Matthias (050)</cp:lastModifiedBy>
  <cp:revision>196</cp:revision>
  <cp:lastPrinted>2021-02-25T08:51:11Z</cp:lastPrinted>
  <dcterms:created xsi:type="dcterms:W3CDTF">2015-12-07T14:59:03Z</dcterms:created>
  <dcterms:modified xsi:type="dcterms:W3CDTF">2022-09-12T11:20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D18CFE4CE879945945E15174BB87C55010030243FED91583A4FA753B6499430CBBF</vt:lpwstr>
  </property>
  <property fmtid="{D5CDD505-2E9C-101B-9397-08002B2CF9AE}" pid="3" name="MSIP_Label_924dbb1d-991d-4bbd-aad5-33bac1d8ffaf_Enabled">
    <vt:lpwstr>true</vt:lpwstr>
  </property>
  <property fmtid="{D5CDD505-2E9C-101B-9397-08002B2CF9AE}" pid="4" name="MSIP_Label_924dbb1d-991d-4bbd-aad5-33bac1d8ffaf_SetDate">
    <vt:lpwstr>2022-09-12T11:20:51Z</vt:lpwstr>
  </property>
  <property fmtid="{D5CDD505-2E9C-101B-9397-08002B2CF9AE}" pid="5" name="MSIP_Label_924dbb1d-991d-4bbd-aad5-33bac1d8ffaf_Method">
    <vt:lpwstr>Standard</vt:lpwstr>
  </property>
  <property fmtid="{D5CDD505-2E9C-101B-9397-08002B2CF9AE}" pid="6" name="MSIP_Label_924dbb1d-991d-4bbd-aad5-33bac1d8ffaf_Name">
    <vt:lpwstr>924dbb1d-991d-4bbd-aad5-33bac1d8ffaf</vt:lpwstr>
  </property>
  <property fmtid="{D5CDD505-2E9C-101B-9397-08002B2CF9AE}" pid="7" name="MSIP_Label_924dbb1d-991d-4bbd-aad5-33bac1d8ffaf_SiteId">
    <vt:lpwstr>9652d7c2-1ccf-4940-8151-4a92bd474ed0</vt:lpwstr>
  </property>
  <property fmtid="{D5CDD505-2E9C-101B-9397-08002B2CF9AE}" pid="8" name="MSIP_Label_924dbb1d-991d-4bbd-aad5-33bac1d8ffaf_ActionId">
    <vt:lpwstr>453a56d1-f40a-43b5-91f2-f6f673ec00fb</vt:lpwstr>
  </property>
  <property fmtid="{D5CDD505-2E9C-101B-9397-08002B2CF9AE}" pid="9" name="MSIP_Label_924dbb1d-991d-4bbd-aad5-33bac1d8ffaf_ContentBits">
    <vt:lpwstr>1</vt:lpwstr>
  </property>
</Properties>
</file>